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charts/chart1.xml" ContentType="application/vnd.openxmlformats-officedocument.drawingml.chart+xml"/>
  <Override PartName="/ppt/theme/themeOverride1.xml" ContentType="application/vnd.openxmlformats-officedocument.themeOverride+xml"/>
  <Override PartName="/ppt/theme/theme2.xml" ContentType="application/vnd.openxmlformats-officedocument.theme+xml"/>
  <Override PartName="/ppt/theme/theme3.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4239" r:id="rId1"/>
  </p:sldMasterIdLst>
  <p:notesMasterIdLst>
    <p:notesMasterId r:id="rId23"/>
  </p:notesMasterIdLst>
  <p:handoutMasterIdLst>
    <p:handoutMasterId r:id="rId24"/>
  </p:handoutMasterIdLst>
  <p:sldIdLst>
    <p:sldId id="256" r:id="rId2"/>
    <p:sldId id="257" r:id="rId3"/>
    <p:sldId id="258" r:id="rId4"/>
    <p:sldId id="259" r:id="rId5"/>
    <p:sldId id="260" r:id="rId6"/>
    <p:sldId id="261" r:id="rId7"/>
    <p:sldId id="262" r:id="rId8"/>
    <p:sldId id="263" r:id="rId9"/>
    <p:sldId id="264" r:id="rId10"/>
    <p:sldId id="265" r:id="rId11"/>
    <p:sldId id="266" r:id="rId12"/>
    <p:sldId id="267" r:id="rId13"/>
    <p:sldId id="268" r:id="rId14"/>
    <p:sldId id="269" r:id="rId15"/>
    <p:sldId id="270" r:id="rId16"/>
    <p:sldId id="271" r:id="rId17"/>
    <p:sldId id="272" r:id="rId18"/>
    <p:sldId id="273" r:id="rId19"/>
    <p:sldId id="274" r:id="rId20"/>
    <p:sldId id="275" r:id="rId21"/>
    <p:sldId id="276" r:id="rId22"/>
  </p:sldIdLst>
  <p:sldSz cx="12192000" cy="6858000"/>
  <p:notesSz cx="7315200" cy="96012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pos="3840">
          <p15:clr>
            <a:srgbClr val="A4A3A4"/>
          </p15:clr>
        </p15:guide>
        <p15:guide id="4" orient="horz" pos="2160">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1E1E"/>
    <a:srgbClr val="000000"/>
    <a:srgbClr val="ED6D00"/>
    <a:srgbClr val="FFCD00"/>
    <a:srgbClr val="DA291C"/>
    <a:srgbClr val="DB291C"/>
    <a:srgbClr val="3EFAC5"/>
    <a:srgbClr val="0DF200"/>
    <a:srgbClr val="ED8B00"/>
    <a:srgbClr val="FF9900"/>
  </p:clrMru>
  <p:extLst>
    <p:ext uri="{E76CE94A-603C-4142-B9EB-6D1370010A27}">
      <p14:discardImageEditData xmlns:p14="http://schemas.microsoft.com/office/powerpoint/2010/main" val="1"/>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04D3BCC-0EC1-4582-B59C-9B79873D25A9}" v="4" dt="2022-02-01T18:23:00.97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84" autoAdjust="0"/>
    <p:restoredTop sz="94799" autoAdjust="0"/>
  </p:normalViewPr>
  <p:slideViewPr>
    <p:cSldViewPr snapToGrid="0" showGuides="1">
      <p:cViewPr varScale="1">
        <p:scale>
          <a:sx n="127" d="100"/>
          <a:sy n="127" d="100"/>
        </p:scale>
        <p:origin x="576" y="192"/>
      </p:cViewPr>
      <p:guideLst>
        <p:guide pos="3840"/>
        <p:guide orient="horz" pos="2160"/>
      </p:guideLst>
    </p:cSldViewPr>
  </p:slideViewPr>
  <p:outlineViewPr>
    <p:cViewPr>
      <p:scale>
        <a:sx n="33" d="100"/>
        <a:sy n="33" d="100"/>
      </p:scale>
      <p:origin x="0" y="-59190"/>
    </p:cViewPr>
  </p:outlineViewPr>
  <p:notesTextViewPr>
    <p:cViewPr>
      <p:scale>
        <a:sx n="3" d="2"/>
        <a:sy n="3" d="2"/>
      </p:scale>
      <p:origin x="0" y="0"/>
    </p:cViewPr>
  </p:notesTextViewPr>
  <p:sorterViewPr>
    <p:cViewPr>
      <p:scale>
        <a:sx n="81" d="100"/>
        <a:sy n="81" d="100"/>
      </p:scale>
      <p:origin x="0" y="0"/>
    </p:cViewPr>
  </p:sorterViewPr>
  <p:notesViewPr>
    <p:cSldViewPr snapToGrid="0" showGuides="1">
      <p:cViewPr varScale="1">
        <p:scale>
          <a:sx n="80" d="100"/>
          <a:sy n="80" d="100"/>
        </p:scale>
        <p:origin x="3888" y="102"/>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 Id="rId30" Type="http://schemas.microsoft.com/office/2015/10/relationships/revisionInfo" Target="revisionInfo.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6481450456991"/>
          <c:y val="0.10969202898550701"/>
          <c:w val="0.67871270080601598"/>
          <c:h val="0.69346732473658201"/>
        </c:manualLayout>
      </c:layout>
      <c:pieChart>
        <c:varyColors val="1"/>
        <c:ser>
          <c:idx val="0"/>
          <c:order val="0"/>
          <c:tx>
            <c:strRef>
              <c:f>Sheet1!$B$1</c:f>
              <c:strCache>
                <c:ptCount val="1"/>
                <c:pt idx="0">
                  <c:v>Q1</c:v>
                </c:pt>
              </c:strCache>
            </c:strRef>
          </c:tx>
          <c:spPr>
            <a:solidFill>
              <a:schemeClr val="accent5"/>
            </a:solidFill>
            <a:ln w="12700">
              <a:solidFill>
                <a:schemeClr val="bg1"/>
              </a:solidFill>
            </a:ln>
          </c:spPr>
          <c:dPt>
            <c:idx val="0"/>
            <c:bubble3D val="0"/>
            <c:spPr>
              <a:solidFill>
                <a:srgbClr val="0097A9"/>
              </a:solidFill>
              <a:ln w="12700">
                <a:noFill/>
              </a:ln>
            </c:spPr>
            <c:extLst>
              <c:ext xmlns:c16="http://schemas.microsoft.com/office/drawing/2014/chart" uri="{C3380CC4-5D6E-409C-BE32-E72D297353CC}">
                <c16:uniqueId val="{00000001-D769-45E7-BC56-726125C7F949}"/>
              </c:ext>
            </c:extLst>
          </c:dPt>
          <c:dPt>
            <c:idx val="1"/>
            <c:bubble3D val="0"/>
            <c:spPr>
              <a:solidFill>
                <a:srgbClr val="F2F2F2"/>
              </a:solidFill>
              <a:ln w="12700">
                <a:noFill/>
              </a:ln>
            </c:spPr>
            <c:extLst>
              <c:ext xmlns:c16="http://schemas.microsoft.com/office/drawing/2014/chart" uri="{C3380CC4-5D6E-409C-BE32-E72D297353CC}">
                <c16:uniqueId val="{00000003-D769-45E7-BC56-726125C7F949}"/>
              </c:ext>
            </c:extLst>
          </c:dPt>
          <c:dPt>
            <c:idx val="2"/>
            <c:bubble3D val="0"/>
            <c:spPr>
              <a:solidFill>
                <a:srgbClr val="6FC2B4"/>
              </a:solidFill>
              <a:ln w="12700">
                <a:noFill/>
              </a:ln>
            </c:spPr>
            <c:extLst>
              <c:ext xmlns:c16="http://schemas.microsoft.com/office/drawing/2014/chart" uri="{C3380CC4-5D6E-409C-BE32-E72D297353CC}">
                <c16:uniqueId val="{00000005-D769-45E7-BC56-726125C7F949}"/>
              </c:ext>
            </c:extLst>
          </c:dPt>
          <c:dPt>
            <c:idx val="3"/>
            <c:bubble3D val="0"/>
            <c:spPr>
              <a:solidFill>
                <a:srgbClr val="C4D600"/>
              </a:solidFill>
              <a:ln w="12700">
                <a:noFill/>
              </a:ln>
            </c:spPr>
            <c:extLst>
              <c:ext xmlns:c16="http://schemas.microsoft.com/office/drawing/2014/chart" uri="{C3380CC4-5D6E-409C-BE32-E72D297353CC}">
                <c16:uniqueId val="{00000007-D769-45E7-BC56-726125C7F949}"/>
              </c:ext>
            </c:extLst>
          </c:dPt>
          <c:dPt>
            <c:idx val="4"/>
            <c:bubble3D val="0"/>
            <c:spPr>
              <a:solidFill>
                <a:srgbClr val="62B5E5"/>
              </a:solidFill>
              <a:ln w="12700">
                <a:noFill/>
              </a:ln>
            </c:spPr>
            <c:extLst>
              <c:ext xmlns:c16="http://schemas.microsoft.com/office/drawing/2014/chart" uri="{C3380CC4-5D6E-409C-BE32-E72D297353CC}">
                <c16:uniqueId val="{00000009-D769-45E7-BC56-726125C7F949}"/>
              </c:ext>
            </c:extLst>
          </c:dPt>
          <c:dPt>
            <c:idx val="5"/>
            <c:bubble3D val="0"/>
            <c:extLst>
              <c:ext xmlns:c16="http://schemas.microsoft.com/office/drawing/2014/chart" uri="{C3380CC4-5D6E-409C-BE32-E72D297353CC}">
                <c16:uniqueId val="{0000000A-D769-45E7-BC56-726125C7F949}"/>
              </c:ext>
            </c:extLst>
          </c:dPt>
          <c:dPt>
            <c:idx val="6"/>
            <c:bubble3D val="0"/>
            <c:extLst>
              <c:ext xmlns:c16="http://schemas.microsoft.com/office/drawing/2014/chart" uri="{C3380CC4-5D6E-409C-BE32-E72D297353CC}">
                <c16:uniqueId val="{0000000B-D769-45E7-BC56-726125C7F949}"/>
              </c:ext>
            </c:extLst>
          </c:dPt>
          <c:dPt>
            <c:idx val="7"/>
            <c:bubble3D val="0"/>
            <c:extLst>
              <c:ext xmlns:c16="http://schemas.microsoft.com/office/drawing/2014/chart" uri="{C3380CC4-5D6E-409C-BE32-E72D297353CC}">
                <c16:uniqueId val="{0000000C-D769-45E7-BC56-726125C7F949}"/>
              </c:ext>
            </c:extLst>
          </c:dPt>
          <c:dPt>
            <c:idx val="8"/>
            <c:bubble3D val="0"/>
            <c:extLst>
              <c:ext xmlns:c16="http://schemas.microsoft.com/office/drawing/2014/chart" uri="{C3380CC4-5D6E-409C-BE32-E72D297353CC}">
                <c16:uniqueId val="{0000000D-D769-45E7-BC56-726125C7F949}"/>
              </c:ext>
            </c:extLst>
          </c:dPt>
          <c:cat>
            <c:strRef>
              <c:f>Sheet1!$A$2:$A$6</c:f>
              <c:strCache>
                <c:ptCount val="5"/>
                <c:pt idx="0">
                  <c:v>Label A</c:v>
                </c:pt>
                <c:pt idx="1">
                  <c:v>Label B</c:v>
                </c:pt>
                <c:pt idx="2">
                  <c:v>Label C</c:v>
                </c:pt>
                <c:pt idx="3">
                  <c:v>Label D</c:v>
                </c:pt>
                <c:pt idx="4">
                  <c:v>Label E</c:v>
                </c:pt>
              </c:strCache>
            </c:strRef>
          </c:cat>
          <c:val>
            <c:numRef>
              <c:f>Sheet1!$B$2:$B$6</c:f>
              <c:numCache>
                <c:formatCode>General</c:formatCode>
                <c:ptCount val="5"/>
                <c:pt idx="0">
                  <c:v>20</c:v>
                </c:pt>
                <c:pt idx="1">
                  <c:v>20</c:v>
                </c:pt>
                <c:pt idx="2">
                  <c:v>20</c:v>
                </c:pt>
                <c:pt idx="3">
                  <c:v>20</c:v>
                </c:pt>
                <c:pt idx="4">
                  <c:v>20</c:v>
                </c:pt>
              </c:numCache>
            </c:numRef>
          </c:val>
          <c:extLst>
            <c:ext xmlns:c16="http://schemas.microsoft.com/office/drawing/2014/chart" uri="{C3380CC4-5D6E-409C-BE32-E72D297353CC}">
              <c16:uniqueId val="{0000000E-D769-45E7-BC56-726125C7F949}"/>
            </c:ext>
          </c:extLst>
        </c:ser>
        <c:dLbls>
          <c:showLegendKey val="0"/>
          <c:showVal val="0"/>
          <c:showCatName val="0"/>
          <c:showSerName val="0"/>
          <c:showPercent val="0"/>
          <c:showBubbleSize val="0"/>
          <c:showLeaderLines val="1"/>
        </c:dLbls>
        <c:firstSliceAng val="73"/>
      </c:pieChart>
    </c:plotArea>
    <c:plotVisOnly val="1"/>
    <c:dispBlanksAs val="zero"/>
    <c:showDLblsOverMax val="0"/>
  </c:chart>
  <c:spPr>
    <a:ln>
      <a:noFill/>
    </a:ln>
  </c:spPr>
  <c:txPr>
    <a:bodyPr/>
    <a:lstStyle/>
    <a:p>
      <a:pPr>
        <a:defRPr sz="1000" b="1">
          <a:solidFill>
            <a:schemeClr val="bg1"/>
          </a:solidFill>
        </a:defRPr>
      </a:pPr>
      <a:endParaRPr lang="en-US"/>
    </a:p>
  </c:txPr>
  <c:externalData r:id="rId2">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9/12/25</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9/12/25</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ext and chart">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334099"/>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2" name="Content Placeholder 6">
            <a:extLst>
              <a:ext uri="{FF2B5EF4-FFF2-40B4-BE49-F238E27FC236}">
                <a16:creationId xmlns:a16="http://schemas.microsoft.com/office/drawing/2014/main" id="{FF2FA415-461D-3BE6-9E6F-804092DCD458}"/>
              </a:ext>
            </a:extLst>
          </p:cNvPr>
          <p:cNvSpPr>
            <a:spLocks noGrp="1"/>
          </p:cNvSpPr>
          <p:nvPr>
            <p:ph sz="quarter" idx="14" hasCustomPrompt="1"/>
          </p:nvPr>
        </p:nvSpPr>
        <p:spPr>
          <a:xfrm>
            <a:off x="501649" y="1326776"/>
            <a:ext cx="11188699" cy="5197124"/>
          </a:xfrm>
        </p:spPr>
        <p:txBody>
          <a:bodyPr/>
          <a:lstStyle>
            <a:lvl1pPr marL="0" indent="0">
              <a:buNone/>
              <a:defRPr/>
            </a:lvl1pPr>
            <a:lvl2pPr>
              <a:defRPr sz="1600">
                <a:solidFill>
                  <a:srgbClr val="009A44"/>
                </a:solidFill>
              </a:defRPr>
            </a:lvl2pPr>
            <a:lvl3pPr>
              <a:defRPr sz="1200"/>
            </a:lvl3pPr>
            <a:lvl4pPr>
              <a:defRPr sz="1200"/>
            </a:lvl4pPr>
            <a:lvl5pPr>
              <a:defRPr sz="1200"/>
            </a:lvl5pPr>
          </a:lstStyle>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7" descr="Background pattern, surface chart&#10;&#10;Description automatically generated">
            <a:extLst>
              <a:ext uri="{FF2B5EF4-FFF2-40B4-BE49-F238E27FC236}">
                <a16:creationId xmlns:a16="http://schemas.microsoft.com/office/drawing/2014/main" id="{170D7030-3D43-CD35-4A2F-6C83C16CA6B4}"/>
              </a:ext>
            </a:extLst>
          </p:cNvPr>
          <p:cNvPicPr>
            <a:picLocks noChangeAspect="1"/>
          </p:cNvPicPr>
          <p:nvPr userDrawn="1"/>
        </p:nvPicPr>
        <p:blipFill>
          <a:blip r:embed="rId2"/>
          <a:stretch>
            <a:fillRect/>
          </a:stretch>
        </p:blipFill>
        <p:spPr>
          <a:xfrm>
            <a:off x="-19456" y="2544524"/>
            <a:ext cx="12224478" cy="4005704"/>
          </a:xfrm>
          <a:prstGeom prst="rect">
            <a:avLst/>
          </a:prstGeom>
        </p:spPr>
      </p:pic>
      <p:sp>
        <p:nvSpPr>
          <p:cNvPr id="3" name="TextBox 2">
            <a:extLst>
              <a:ext uri="{FF2B5EF4-FFF2-40B4-BE49-F238E27FC236}">
                <a16:creationId xmlns:a16="http://schemas.microsoft.com/office/drawing/2014/main" id="{B1F80523-76EA-48C9-10D6-6A500E37DF1B}"/>
              </a:ext>
            </a:extLst>
          </p:cNvPr>
          <p:cNvSpPr txBox="1"/>
          <p:nvPr userDrawn="1"/>
        </p:nvSpPr>
        <p:spPr>
          <a:xfrm>
            <a:off x="9818297" y="172023"/>
            <a:ext cx="1872051" cy="276999"/>
          </a:xfrm>
          <a:prstGeom prst="rect">
            <a:avLst/>
          </a:prstGeom>
          <a:noFill/>
          <a:ln w="28575">
            <a:noFill/>
          </a:ln>
        </p:spPr>
        <p:txBody>
          <a:bodyPr wrap="none" lIns="0" tIns="0" rIns="0" bIns="0" rtlCol="0">
            <a:spAutoFit/>
          </a:bodyPr>
          <a:lstStyle/>
          <a:p>
            <a:pPr marL="0" indent="0">
              <a:spcBef>
                <a:spcPts val="600"/>
              </a:spcBef>
              <a:buSzPct val="100000"/>
              <a:buFont typeface="Arial"/>
              <a:buNone/>
            </a:pPr>
            <a:r>
              <a:rPr lang="en-US" b="1" dirty="0">
                <a:solidFill>
                  <a:srgbClr val="FF0000"/>
                </a:solidFill>
              </a:rPr>
              <a:t>AI Generated Draft</a:t>
            </a:r>
          </a:p>
        </p:txBody>
      </p:sp>
    </p:spTree>
    <p:extLst>
      <p:ext uri="{BB962C8B-B14F-4D97-AF65-F5344CB8AC3E}">
        <p14:creationId xmlns:p14="http://schemas.microsoft.com/office/powerpoint/2010/main" val="571485727"/>
      </p:ext>
    </p:extLst>
  </p:cSld>
  <p:clrMapOvr>
    <a:masterClrMapping/>
  </p:clrMapOvr>
  <p:transition>
    <p:fade/>
  </p:transition>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4 column icon">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358775" y="651600"/>
            <a:ext cx="11434704" cy="334099"/>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358775" y="317500"/>
            <a:ext cx="11434704"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3" name="Content Placeholder 2">
            <a:extLst>
              <a:ext uri="{FF2B5EF4-FFF2-40B4-BE49-F238E27FC236}">
                <a16:creationId xmlns:a16="http://schemas.microsoft.com/office/drawing/2014/main" id="{212C24D3-EC84-B15A-4124-AECE3E3D15F9}"/>
              </a:ext>
            </a:extLst>
          </p:cNvPr>
          <p:cNvSpPr>
            <a:spLocks noGrp="1"/>
          </p:cNvSpPr>
          <p:nvPr>
            <p:ph sz="quarter" idx="29"/>
          </p:nvPr>
        </p:nvSpPr>
        <p:spPr>
          <a:xfrm>
            <a:off x="538098" y="2019918"/>
            <a:ext cx="2534285" cy="4044225"/>
          </a:xfrm>
        </p:spPr>
        <p:txBody>
          <a:bodyPr/>
          <a:lstStyle>
            <a:lvl2pPr>
              <a:defRPr sz="1600">
                <a:solidFill>
                  <a:schemeClr val="accent1"/>
                </a:solidFill>
              </a:defRPr>
            </a:lvl2pPr>
            <a:lvl3pPr>
              <a:defRPr sz="1200"/>
            </a:lvl3pPr>
            <a:lvl4pPr>
              <a:defRPr sz="1200"/>
            </a:lvl4pPr>
            <a:lvl5pPr>
              <a:defRPr sz="1200"/>
            </a:lvl5pPr>
          </a:lstStyle>
          <a:p>
            <a:pPr lvl="1"/>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reeform 7">
            <a:extLst>
              <a:ext uri="{FF2B5EF4-FFF2-40B4-BE49-F238E27FC236}">
                <a16:creationId xmlns:a16="http://schemas.microsoft.com/office/drawing/2014/main" id="{0335C380-7A54-B354-3F63-C60270B7D647}"/>
              </a:ext>
            </a:extLst>
          </p:cNvPr>
          <p:cNvSpPr>
            <a:spLocks/>
          </p:cNvSpPr>
          <p:nvPr userDrawn="1"/>
        </p:nvSpPr>
        <p:spPr bwMode="auto">
          <a:xfrm>
            <a:off x="346075" y="1169848"/>
            <a:ext cx="11447404" cy="1313517"/>
          </a:xfrm>
          <a:custGeom>
            <a:avLst/>
            <a:gdLst>
              <a:gd name="T0" fmla="*/ 0 w 5233"/>
              <a:gd name="T1" fmla="*/ 2147483647 h 1595"/>
              <a:gd name="T2" fmla="*/ 0 w 5233"/>
              <a:gd name="T3" fmla="*/ 2147483647 h 1595"/>
              <a:gd name="T4" fmla="*/ 2147483647 w 5233"/>
              <a:gd name="T5" fmla="*/ 2147483647 h 1595"/>
              <a:gd name="T6" fmla="*/ 2147483647 w 5233"/>
              <a:gd name="T7" fmla="*/ 2147483647 h 1595"/>
              <a:gd name="T8" fmla="*/ 2147483647 w 5233"/>
              <a:gd name="T9" fmla="*/ 2147483647 h 1595"/>
              <a:gd name="T10" fmla="*/ 2147483647 w 5233"/>
              <a:gd name="T11" fmla="*/ 2147483647 h 1595"/>
              <a:gd name="T12" fmla="*/ 2147483647 w 5233"/>
              <a:gd name="T13" fmla="*/ 2147483647 h 1595"/>
              <a:gd name="T14" fmla="*/ 2147483647 w 5233"/>
              <a:gd name="T15" fmla="*/ 0 h 1595"/>
              <a:gd name="T16" fmla="*/ 2147483647 w 5233"/>
              <a:gd name="T17" fmla="*/ 0 h 15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233"/>
              <a:gd name="T28" fmla="*/ 0 h 1595"/>
              <a:gd name="T29" fmla="*/ 5233 w 5233"/>
              <a:gd name="T30" fmla="*/ 1595 h 15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233" h="1595">
                <a:moveTo>
                  <a:pt x="0" y="1594"/>
                </a:moveTo>
                <a:lnTo>
                  <a:pt x="0" y="1195"/>
                </a:lnTo>
                <a:lnTo>
                  <a:pt x="1308" y="1195"/>
                </a:lnTo>
                <a:lnTo>
                  <a:pt x="1308" y="797"/>
                </a:lnTo>
                <a:lnTo>
                  <a:pt x="2616" y="797"/>
                </a:lnTo>
                <a:lnTo>
                  <a:pt x="2616" y="398"/>
                </a:lnTo>
                <a:lnTo>
                  <a:pt x="3924" y="398"/>
                </a:lnTo>
                <a:lnTo>
                  <a:pt x="3924" y="0"/>
                </a:lnTo>
                <a:lnTo>
                  <a:pt x="5232" y="0"/>
                </a:lnTo>
              </a:path>
            </a:pathLst>
          </a:custGeom>
          <a:ln>
            <a:solidFill>
              <a:srgbClr val="92D050"/>
            </a:solidFill>
            <a:headEnd type="none" w="sm" len="sm"/>
            <a:tailEnd type="none" w="sm" len="sm"/>
          </a:ln>
          <a:effectLst/>
        </p:spPr>
        <p:style>
          <a:lnRef idx="3">
            <a:schemeClr val="accent5"/>
          </a:lnRef>
          <a:fillRef idx="0">
            <a:schemeClr val="accent5"/>
          </a:fillRef>
          <a:effectRef idx="2">
            <a:schemeClr val="accent5"/>
          </a:effectRef>
          <a:fontRef idx="minor">
            <a:schemeClr val="tx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C5C5C"/>
              </a:solidFill>
              <a:effectLst/>
              <a:uLnTx/>
              <a:uFillTx/>
              <a:ea typeface="+mn-ea"/>
              <a:cs typeface="+mn-cs"/>
            </a:endParaRPr>
          </a:p>
        </p:txBody>
      </p:sp>
      <p:sp>
        <p:nvSpPr>
          <p:cNvPr id="12" name="Content Placeholder 2">
            <a:extLst>
              <a:ext uri="{FF2B5EF4-FFF2-40B4-BE49-F238E27FC236}">
                <a16:creationId xmlns:a16="http://schemas.microsoft.com/office/drawing/2014/main" id="{5A50ED74-4D6E-3D1A-9C45-9B4F65F4979F}"/>
              </a:ext>
            </a:extLst>
          </p:cNvPr>
          <p:cNvSpPr>
            <a:spLocks noGrp="1"/>
          </p:cNvSpPr>
          <p:nvPr>
            <p:ph sz="quarter" idx="30"/>
          </p:nvPr>
        </p:nvSpPr>
        <p:spPr>
          <a:xfrm>
            <a:off x="3381057" y="1694586"/>
            <a:ext cx="2534285" cy="4044225"/>
          </a:xfrm>
        </p:spPr>
        <p:txBody>
          <a:bodyPr/>
          <a:lstStyle>
            <a:lvl2pPr>
              <a:defRPr sz="1600">
                <a:solidFill>
                  <a:schemeClr val="accent1"/>
                </a:solidFill>
              </a:defRPr>
            </a:lvl2pPr>
            <a:lvl3pPr>
              <a:defRPr sz="1200"/>
            </a:lvl3pPr>
            <a:lvl4pPr>
              <a:defRPr sz="1200"/>
            </a:lvl4pPr>
            <a:lvl5pPr>
              <a:defRPr sz="1200"/>
            </a:lvl5pPr>
          </a:lstStyle>
          <a:p>
            <a:pPr lvl="1"/>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a:extLst>
              <a:ext uri="{FF2B5EF4-FFF2-40B4-BE49-F238E27FC236}">
                <a16:creationId xmlns:a16="http://schemas.microsoft.com/office/drawing/2014/main" id="{EF08BC4C-4221-BF28-C0AA-B87B5A17683E}"/>
              </a:ext>
            </a:extLst>
          </p:cNvPr>
          <p:cNvSpPr>
            <a:spLocks noGrp="1"/>
          </p:cNvSpPr>
          <p:nvPr>
            <p:ph sz="quarter" idx="31"/>
          </p:nvPr>
        </p:nvSpPr>
        <p:spPr>
          <a:xfrm>
            <a:off x="6224016" y="1361576"/>
            <a:ext cx="2534285" cy="4096747"/>
          </a:xfrm>
        </p:spPr>
        <p:txBody>
          <a:bodyPr/>
          <a:lstStyle>
            <a:lvl2pPr>
              <a:defRPr sz="1600">
                <a:solidFill>
                  <a:schemeClr val="accent1"/>
                </a:solidFill>
              </a:defRPr>
            </a:lvl2pPr>
            <a:lvl3pPr>
              <a:defRPr sz="1200"/>
            </a:lvl3pPr>
            <a:lvl4pPr>
              <a:defRPr sz="1200"/>
            </a:lvl4pPr>
            <a:lvl5pPr>
              <a:defRPr sz="1200"/>
            </a:lvl5pPr>
          </a:lstStyle>
          <a:p>
            <a:pPr lvl="1"/>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a:extLst>
              <a:ext uri="{FF2B5EF4-FFF2-40B4-BE49-F238E27FC236}">
                <a16:creationId xmlns:a16="http://schemas.microsoft.com/office/drawing/2014/main" id="{5578D7C3-1E0C-FC62-BDA1-C701BC0EE2AF}"/>
              </a:ext>
            </a:extLst>
          </p:cNvPr>
          <p:cNvSpPr>
            <a:spLocks noGrp="1"/>
          </p:cNvSpPr>
          <p:nvPr>
            <p:ph sz="quarter" idx="32"/>
          </p:nvPr>
        </p:nvSpPr>
        <p:spPr>
          <a:xfrm>
            <a:off x="9133334" y="1033220"/>
            <a:ext cx="2534285" cy="4096747"/>
          </a:xfrm>
        </p:spPr>
        <p:txBody>
          <a:bodyPr/>
          <a:lstStyle>
            <a:lvl2pPr>
              <a:defRPr sz="1600">
                <a:solidFill>
                  <a:schemeClr val="accent1"/>
                </a:solidFill>
              </a:defRPr>
            </a:lvl2pPr>
            <a:lvl3pPr>
              <a:defRPr sz="1200"/>
            </a:lvl3pPr>
            <a:lvl4pPr>
              <a:defRPr sz="1200"/>
            </a:lvl4pPr>
            <a:lvl5pPr>
              <a:defRPr sz="1200"/>
            </a:lvl5pPr>
          </a:lstStyle>
          <a:p>
            <a:pPr lvl="1"/>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a:extLst>
              <a:ext uri="{FF2B5EF4-FFF2-40B4-BE49-F238E27FC236}">
                <a16:creationId xmlns:a16="http://schemas.microsoft.com/office/drawing/2014/main" id="{585D5F68-19A2-351E-933C-5604E321EB09}"/>
              </a:ext>
            </a:extLst>
          </p:cNvPr>
          <p:cNvSpPr txBox="1"/>
          <p:nvPr userDrawn="1"/>
        </p:nvSpPr>
        <p:spPr>
          <a:xfrm>
            <a:off x="9818297" y="172023"/>
            <a:ext cx="1872051" cy="276999"/>
          </a:xfrm>
          <a:prstGeom prst="rect">
            <a:avLst/>
          </a:prstGeom>
          <a:noFill/>
          <a:ln w="28575">
            <a:noFill/>
          </a:ln>
        </p:spPr>
        <p:txBody>
          <a:bodyPr wrap="none" lIns="0" tIns="0" rIns="0" bIns="0" rtlCol="0">
            <a:spAutoFit/>
          </a:bodyPr>
          <a:lstStyle/>
          <a:p>
            <a:pPr marL="0" indent="0">
              <a:spcBef>
                <a:spcPts val="600"/>
              </a:spcBef>
              <a:buSzPct val="100000"/>
              <a:buFont typeface="Arial"/>
              <a:buNone/>
            </a:pPr>
            <a:r>
              <a:rPr lang="en-US" b="1" dirty="0">
                <a:solidFill>
                  <a:srgbClr val="FF0000"/>
                </a:solidFill>
              </a:rPr>
              <a:t>AI Generated Draft</a:t>
            </a:r>
          </a:p>
        </p:txBody>
      </p:sp>
    </p:spTree>
    <p:extLst>
      <p:ext uri="{BB962C8B-B14F-4D97-AF65-F5344CB8AC3E}">
        <p14:creationId xmlns:p14="http://schemas.microsoft.com/office/powerpoint/2010/main" val="193408609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2 columns of text">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D58FF0B8-12F4-41CE-AD69-DD52D41C8BBD}"/>
              </a:ext>
            </a:extLst>
          </p:cNvPr>
          <p:cNvSpPr>
            <a:spLocks noGrp="1"/>
          </p:cNvSpPr>
          <p:nvPr>
            <p:ph type="body" sz="quarter" idx="13" hasCustomPrompt="1"/>
          </p:nvPr>
        </p:nvSpPr>
        <p:spPr>
          <a:xfrm>
            <a:off x="501650" y="651601"/>
            <a:ext cx="11188700" cy="334100"/>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565F50C2-3A2B-43F6-97B9-A4F3EF05E45A}"/>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8" name="Oval 17">
            <a:extLst>
              <a:ext uri="{FF2B5EF4-FFF2-40B4-BE49-F238E27FC236}">
                <a16:creationId xmlns:a16="http://schemas.microsoft.com/office/drawing/2014/main" id="{0BD82FFF-0D11-A8AC-6274-B14545CBE1A0}"/>
              </a:ext>
            </a:extLst>
          </p:cNvPr>
          <p:cNvSpPr/>
          <p:nvPr/>
        </p:nvSpPr>
        <p:spPr>
          <a:xfrm>
            <a:off x="509285" y="1430340"/>
            <a:ext cx="661857" cy="641433"/>
          </a:xfrm>
          <a:prstGeom prst="ellipse">
            <a:avLst/>
          </a:prstGeom>
          <a:solidFill>
            <a:schemeClr val="bg1"/>
          </a:solidFill>
          <a:ln w="3492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1</a:t>
            </a:r>
          </a:p>
        </p:txBody>
      </p:sp>
      <p:sp>
        <p:nvSpPr>
          <p:cNvPr id="25" name="Content Placeholder 3">
            <a:extLst>
              <a:ext uri="{FF2B5EF4-FFF2-40B4-BE49-F238E27FC236}">
                <a16:creationId xmlns:a16="http://schemas.microsoft.com/office/drawing/2014/main" id="{CB15892C-1E9B-E8C2-BB00-978433E9E7B5}"/>
              </a:ext>
            </a:extLst>
          </p:cNvPr>
          <p:cNvSpPr>
            <a:spLocks noGrp="1"/>
          </p:cNvSpPr>
          <p:nvPr>
            <p:ph sz="quarter" idx="17"/>
          </p:nvPr>
        </p:nvSpPr>
        <p:spPr>
          <a:xfrm>
            <a:off x="497381" y="1755648"/>
            <a:ext cx="2247900" cy="4651837"/>
          </a:xfrm>
        </p:spPr>
        <p:txBody>
          <a:bodyPr/>
          <a:lstStyle>
            <a:lvl2pPr>
              <a:defRPr sz="2000"/>
            </a:lvl2pPr>
            <a:lvl3pPr>
              <a:defRPr sz="1200"/>
            </a:lvl3pPr>
            <a:lvl4pPr>
              <a:defRPr sz="1200"/>
            </a:lvl4pPr>
            <a:lvl5pPr>
              <a:defRPr sz="1200"/>
            </a:lvl5pPr>
          </a:lstStyle>
          <a:p>
            <a:pPr lvl="0"/>
            <a:r>
              <a:rPr lang="en-US" dirty="0"/>
              <a:t>Click to edit Master text </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6" name="Straight Connector 25">
            <a:extLst>
              <a:ext uri="{FF2B5EF4-FFF2-40B4-BE49-F238E27FC236}">
                <a16:creationId xmlns:a16="http://schemas.microsoft.com/office/drawing/2014/main" id="{0C1C4E5A-0E3F-EAF5-583B-70891D393C2F}"/>
              </a:ext>
            </a:extLst>
          </p:cNvPr>
          <p:cNvCxnSpPr>
            <a:cxnSpLocks/>
          </p:cNvCxnSpPr>
          <p:nvPr userDrawn="1"/>
        </p:nvCxnSpPr>
        <p:spPr>
          <a:xfrm>
            <a:off x="509285" y="2445299"/>
            <a:ext cx="223599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4BC1F9A8-9B21-30BC-3024-95BD486854C9}"/>
              </a:ext>
            </a:extLst>
          </p:cNvPr>
          <p:cNvSpPr/>
          <p:nvPr userDrawn="1"/>
        </p:nvSpPr>
        <p:spPr>
          <a:xfrm>
            <a:off x="2865389" y="1430340"/>
            <a:ext cx="661857" cy="641433"/>
          </a:xfrm>
          <a:prstGeom prst="ellipse">
            <a:avLst/>
          </a:prstGeom>
          <a:solidFill>
            <a:schemeClr val="bg1"/>
          </a:solidFill>
          <a:ln w="3492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2</a:t>
            </a:r>
          </a:p>
        </p:txBody>
      </p:sp>
      <p:sp>
        <p:nvSpPr>
          <p:cNvPr id="33" name="Content Placeholder 3">
            <a:extLst>
              <a:ext uri="{FF2B5EF4-FFF2-40B4-BE49-F238E27FC236}">
                <a16:creationId xmlns:a16="http://schemas.microsoft.com/office/drawing/2014/main" id="{12A59A61-F005-3175-AD3F-FEE5C688DBA8}"/>
              </a:ext>
            </a:extLst>
          </p:cNvPr>
          <p:cNvSpPr>
            <a:spLocks noGrp="1"/>
          </p:cNvSpPr>
          <p:nvPr>
            <p:ph sz="quarter" idx="21"/>
          </p:nvPr>
        </p:nvSpPr>
        <p:spPr>
          <a:xfrm>
            <a:off x="2853485" y="1755648"/>
            <a:ext cx="2247900" cy="4651837"/>
          </a:xfrm>
        </p:spPr>
        <p:txBody>
          <a:bodyPr/>
          <a:lstStyle>
            <a:lvl2pPr>
              <a:defRPr sz="2000"/>
            </a:lvl2pPr>
            <a:lvl3pPr>
              <a:defRPr sz="1200"/>
            </a:lvl3pPr>
            <a:lvl4pPr>
              <a:defRPr sz="1200"/>
            </a:lvl4pPr>
            <a:lvl5pPr>
              <a:defRPr sz="1200"/>
            </a:lvl5pPr>
          </a:lstStyle>
          <a:p>
            <a:pPr lvl="0"/>
            <a:r>
              <a:rPr lang="en-US" dirty="0"/>
              <a:t>Click to edit Master text </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4" name="Straight Connector 33">
            <a:extLst>
              <a:ext uri="{FF2B5EF4-FFF2-40B4-BE49-F238E27FC236}">
                <a16:creationId xmlns:a16="http://schemas.microsoft.com/office/drawing/2014/main" id="{6FC69352-C1C2-827A-A452-8D88034F234E}"/>
              </a:ext>
            </a:extLst>
          </p:cNvPr>
          <p:cNvCxnSpPr>
            <a:cxnSpLocks/>
          </p:cNvCxnSpPr>
          <p:nvPr userDrawn="1"/>
        </p:nvCxnSpPr>
        <p:spPr>
          <a:xfrm>
            <a:off x="2853485" y="2445299"/>
            <a:ext cx="223599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F8F5B0A6-39E5-BAEA-18B3-2A4B0FB37C9E}"/>
              </a:ext>
            </a:extLst>
          </p:cNvPr>
          <p:cNvSpPr/>
          <p:nvPr userDrawn="1"/>
        </p:nvSpPr>
        <p:spPr>
          <a:xfrm>
            <a:off x="5187946" y="1430340"/>
            <a:ext cx="661857" cy="641433"/>
          </a:xfrm>
          <a:prstGeom prst="ellipse">
            <a:avLst/>
          </a:prstGeom>
          <a:solidFill>
            <a:schemeClr val="bg1"/>
          </a:solidFill>
          <a:ln w="3492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3</a:t>
            </a:r>
          </a:p>
        </p:txBody>
      </p:sp>
      <p:sp>
        <p:nvSpPr>
          <p:cNvPr id="36" name="Content Placeholder 3">
            <a:extLst>
              <a:ext uri="{FF2B5EF4-FFF2-40B4-BE49-F238E27FC236}">
                <a16:creationId xmlns:a16="http://schemas.microsoft.com/office/drawing/2014/main" id="{CAAC3C51-529C-50DD-4EDB-EA665FB39B74}"/>
              </a:ext>
            </a:extLst>
          </p:cNvPr>
          <p:cNvSpPr>
            <a:spLocks noGrp="1"/>
          </p:cNvSpPr>
          <p:nvPr>
            <p:ph sz="quarter" idx="22"/>
          </p:nvPr>
        </p:nvSpPr>
        <p:spPr>
          <a:xfrm>
            <a:off x="5176042" y="1755648"/>
            <a:ext cx="2247900" cy="4651837"/>
          </a:xfrm>
        </p:spPr>
        <p:txBody>
          <a:bodyPr/>
          <a:lstStyle>
            <a:lvl2pPr>
              <a:defRPr sz="2000"/>
            </a:lvl2pPr>
            <a:lvl3pPr>
              <a:defRPr sz="1200"/>
            </a:lvl3pPr>
            <a:lvl4pPr>
              <a:defRPr sz="1200"/>
            </a:lvl4pPr>
            <a:lvl5pPr>
              <a:defRPr sz="1200"/>
            </a:lvl5pPr>
          </a:lstStyle>
          <a:p>
            <a:pPr lvl="0"/>
            <a:r>
              <a:rPr lang="en-US" dirty="0"/>
              <a:t>Click to edit Master text 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7" name="Straight Connector 36">
            <a:extLst>
              <a:ext uri="{FF2B5EF4-FFF2-40B4-BE49-F238E27FC236}">
                <a16:creationId xmlns:a16="http://schemas.microsoft.com/office/drawing/2014/main" id="{43538EF9-E8FB-6653-E413-54C15C4D60D6}"/>
              </a:ext>
            </a:extLst>
          </p:cNvPr>
          <p:cNvCxnSpPr>
            <a:cxnSpLocks/>
          </p:cNvCxnSpPr>
          <p:nvPr userDrawn="1"/>
        </p:nvCxnSpPr>
        <p:spPr>
          <a:xfrm>
            <a:off x="5187946" y="2445299"/>
            <a:ext cx="223599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741B6654-54B1-F076-CAD1-A121314A8C78}"/>
              </a:ext>
            </a:extLst>
          </p:cNvPr>
          <p:cNvSpPr/>
          <p:nvPr userDrawn="1"/>
        </p:nvSpPr>
        <p:spPr>
          <a:xfrm>
            <a:off x="7510503" y="1430340"/>
            <a:ext cx="661857" cy="641433"/>
          </a:xfrm>
          <a:prstGeom prst="ellipse">
            <a:avLst/>
          </a:prstGeom>
          <a:solidFill>
            <a:schemeClr val="bg1"/>
          </a:solidFill>
          <a:ln w="3492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4</a:t>
            </a:r>
          </a:p>
        </p:txBody>
      </p:sp>
      <p:sp>
        <p:nvSpPr>
          <p:cNvPr id="39" name="Content Placeholder 3">
            <a:extLst>
              <a:ext uri="{FF2B5EF4-FFF2-40B4-BE49-F238E27FC236}">
                <a16:creationId xmlns:a16="http://schemas.microsoft.com/office/drawing/2014/main" id="{A809C6A1-1817-AD7B-66C4-2B057FBF5700}"/>
              </a:ext>
            </a:extLst>
          </p:cNvPr>
          <p:cNvSpPr>
            <a:spLocks noGrp="1"/>
          </p:cNvSpPr>
          <p:nvPr>
            <p:ph sz="quarter" idx="23"/>
          </p:nvPr>
        </p:nvSpPr>
        <p:spPr>
          <a:xfrm>
            <a:off x="7498599" y="1755648"/>
            <a:ext cx="2247900" cy="4651837"/>
          </a:xfrm>
        </p:spPr>
        <p:txBody>
          <a:bodyPr/>
          <a:lstStyle>
            <a:lvl2pPr>
              <a:defRPr sz="2000"/>
            </a:lvl2pPr>
            <a:lvl3pPr>
              <a:defRPr sz="1200"/>
            </a:lvl3pPr>
            <a:lvl4pPr>
              <a:defRPr sz="1200"/>
            </a:lvl4pPr>
            <a:lvl5pPr>
              <a:defRPr sz="1200"/>
            </a:lvl5pPr>
          </a:lstStyle>
          <a:p>
            <a:pPr lvl="0"/>
            <a:r>
              <a:rPr lang="en-US" dirty="0"/>
              <a:t>Click to edit Master text 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40" name="Straight Connector 39">
            <a:extLst>
              <a:ext uri="{FF2B5EF4-FFF2-40B4-BE49-F238E27FC236}">
                <a16:creationId xmlns:a16="http://schemas.microsoft.com/office/drawing/2014/main" id="{17D544D6-3876-D7CC-9C2E-3C23D2A0DE0D}"/>
              </a:ext>
            </a:extLst>
          </p:cNvPr>
          <p:cNvCxnSpPr>
            <a:cxnSpLocks/>
          </p:cNvCxnSpPr>
          <p:nvPr userDrawn="1"/>
        </p:nvCxnSpPr>
        <p:spPr>
          <a:xfrm>
            <a:off x="7498599" y="2445299"/>
            <a:ext cx="223599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Oval 40">
            <a:extLst>
              <a:ext uri="{FF2B5EF4-FFF2-40B4-BE49-F238E27FC236}">
                <a16:creationId xmlns:a16="http://schemas.microsoft.com/office/drawing/2014/main" id="{012AEAB1-3FB0-9962-BE00-56EF80B4F8DA}"/>
              </a:ext>
            </a:extLst>
          </p:cNvPr>
          <p:cNvSpPr/>
          <p:nvPr userDrawn="1"/>
        </p:nvSpPr>
        <p:spPr>
          <a:xfrm>
            <a:off x="9833060" y="1430340"/>
            <a:ext cx="661857" cy="641433"/>
          </a:xfrm>
          <a:prstGeom prst="ellipse">
            <a:avLst/>
          </a:prstGeom>
          <a:solidFill>
            <a:schemeClr val="bg1"/>
          </a:solidFill>
          <a:ln w="3492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u="none" strike="noStrike" kern="120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5</a:t>
            </a:r>
          </a:p>
        </p:txBody>
      </p:sp>
      <p:sp>
        <p:nvSpPr>
          <p:cNvPr id="42" name="Content Placeholder 3">
            <a:extLst>
              <a:ext uri="{FF2B5EF4-FFF2-40B4-BE49-F238E27FC236}">
                <a16:creationId xmlns:a16="http://schemas.microsoft.com/office/drawing/2014/main" id="{A10DCCAF-D64A-0493-B4F1-F6533B40F3AE}"/>
              </a:ext>
            </a:extLst>
          </p:cNvPr>
          <p:cNvSpPr>
            <a:spLocks noGrp="1"/>
          </p:cNvSpPr>
          <p:nvPr>
            <p:ph sz="quarter" idx="24"/>
          </p:nvPr>
        </p:nvSpPr>
        <p:spPr>
          <a:xfrm>
            <a:off x="9821156" y="1755648"/>
            <a:ext cx="2247900" cy="4651837"/>
          </a:xfrm>
        </p:spPr>
        <p:txBody>
          <a:bodyPr/>
          <a:lstStyle>
            <a:lvl2pPr>
              <a:defRPr sz="2000"/>
            </a:lvl2pPr>
            <a:lvl3pPr>
              <a:defRPr sz="1200"/>
            </a:lvl3pPr>
            <a:lvl4pPr>
              <a:defRPr sz="1200"/>
            </a:lvl4pPr>
            <a:lvl5pPr>
              <a:defRPr sz="1200"/>
            </a:lvl5pPr>
          </a:lstStyle>
          <a:p>
            <a:pPr lvl="0"/>
            <a:r>
              <a:rPr lang="en-US" dirty="0"/>
              <a:t>Click to edit Master text 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43" name="Straight Connector 42">
            <a:extLst>
              <a:ext uri="{FF2B5EF4-FFF2-40B4-BE49-F238E27FC236}">
                <a16:creationId xmlns:a16="http://schemas.microsoft.com/office/drawing/2014/main" id="{9F71D6F6-B395-8B9F-D3AB-977E141129C7}"/>
              </a:ext>
            </a:extLst>
          </p:cNvPr>
          <p:cNvCxnSpPr>
            <a:cxnSpLocks/>
          </p:cNvCxnSpPr>
          <p:nvPr userDrawn="1"/>
        </p:nvCxnSpPr>
        <p:spPr>
          <a:xfrm>
            <a:off x="9833060" y="2445299"/>
            <a:ext cx="223599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EFFF22D9-6174-E74E-DFD9-9A8E3749F20F}"/>
              </a:ext>
            </a:extLst>
          </p:cNvPr>
          <p:cNvSpPr txBox="1"/>
          <p:nvPr userDrawn="1"/>
        </p:nvSpPr>
        <p:spPr>
          <a:xfrm>
            <a:off x="9818297" y="172023"/>
            <a:ext cx="1872051" cy="276999"/>
          </a:xfrm>
          <a:prstGeom prst="rect">
            <a:avLst/>
          </a:prstGeom>
          <a:noFill/>
          <a:ln w="28575">
            <a:noFill/>
          </a:ln>
        </p:spPr>
        <p:txBody>
          <a:bodyPr wrap="none" lIns="0" tIns="0" rIns="0" bIns="0" rtlCol="0">
            <a:spAutoFit/>
          </a:bodyPr>
          <a:lstStyle/>
          <a:p>
            <a:pPr marL="0" indent="0">
              <a:spcBef>
                <a:spcPts val="600"/>
              </a:spcBef>
              <a:buSzPct val="100000"/>
              <a:buFont typeface="Arial"/>
              <a:buNone/>
            </a:pPr>
            <a:r>
              <a:rPr lang="en-US" b="1" dirty="0">
                <a:solidFill>
                  <a:srgbClr val="FF0000"/>
                </a:solidFill>
              </a:rPr>
              <a:t>AI Generated Draft</a:t>
            </a:r>
          </a:p>
        </p:txBody>
      </p:sp>
    </p:spTree>
    <p:extLst>
      <p:ext uri="{BB962C8B-B14F-4D97-AF65-F5344CB8AC3E}">
        <p14:creationId xmlns:p14="http://schemas.microsoft.com/office/powerpoint/2010/main" val="3644409206"/>
      </p:ext>
    </p:extLst>
  </p:cSld>
  <p:clrMapOvr>
    <a:masterClrMapping/>
  </p:clrMapOvr>
  <p:transition>
    <p:fade/>
  </p:transition>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_Qualifications 2 x 2">
    <p:spTree>
      <p:nvGrpSpPr>
        <p:cNvPr id="1" name=""/>
        <p:cNvGrpSpPr/>
        <p:nvPr/>
      </p:nvGrpSpPr>
      <p:grpSpPr>
        <a:xfrm>
          <a:off x="0" y="0"/>
          <a:ext cx="0" cy="0"/>
          <a:chOff x="0" y="0"/>
          <a:chExt cx="0" cy="0"/>
        </a:xfrm>
      </p:grpSpPr>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01650" y="651600"/>
            <a:ext cx="11188700" cy="334099"/>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7" name="object 5">
            <a:extLst>
              <a:ext uri="{FF2B5EF4-FFF2-40B4-BE49-F238E27FC236}">
                <a16:creationId xmlns:a16="http://schemas.microsoft.com/office/drawing/2014/main" id="{3564747E-2DB3-2979-3EEA-756FEF0EA1B8}"/>
              </a:ext>
            </a:extLst>
          </p:cNvPr>
          <p:cNvSpPr/>
          <p:nvPr userDrawn="1"/>
        </p:nvSpPr>
        <p:spPr>
          <a:xfrm>
            <a:off x="1278082" y="4003111"/>
            <a:ext cx="1775541" cy="393058"/>
          </a:xfrm>
          <a:custGeom>
            <a:avLst/>
            <a:gdLst/>
            <a:ahLst/>
            <a:cxnLst/>
            <a:rect l="l" t="t" r="r" b="b"/>
            <a:pathLst>
              <a:path w="3074035" h="338455">
                <a:moveTo>
                  <a:pt x="0" y="338327"/>
                </a:moveTo>
                <a:lnTo>
                  <a:pt x="3073908" y="338327"/>
                </a:lnTo>
                <a:lnTo>
                  <a:pt x="3073908" y="0"/>
                </a:lnTo>
                <a:lnTo>
                  <a:pt x="0" y="0"/>
                </a:lnTo>
                <a:lnTo>
                  <a:pt x="0" y="338327"/>
                </a:lnTo>
                <a:close/>
              </a:path>
            </a:pathLst>
          </a:custGeom>
          <a:solidFill>
            <a:srgbClr val="FFFFFF"/>
          </a:solidFill>
        </p:spPr>
        <p:txBody>
          <a:bodyPr wrap="square" lIns="0" tIns="0" rIns="0" bIns="0" rtlCol="0"/>
          <a:lstStyle/>
          <a:p>
            <a:endParaRPr sz="1600"/>
          </a:p>
        </p:txBody>
      </p:sp>
      <p:sp>
        <p:nvSpPr>
          <p:cNvPr id="8" name="object 3">
            <a:extLst>
              <a:ext uri="{FF2B5EF4-FFF2-40B4-BE49-F238E27FC236}">
                <a16:creationId xmlns:a16="http://schemas.microsoft.com/office/drawing/2014/main" id="{7055B7BC-207C-9938-D789-7B03723A5110}"/>
              </a:ext>
            </a:extLst>
          </p:cNvPr>
          <p:cNvSpPr/>
          <p:nvPr userDrawn="1"/>
        </p:nvSpPr>
        <p:spPr>
          <a:xfrm>
            <a:off x="463662" y="1590604"/>
            <a:ext cx="5517008" cy="2281180"/>
          </a:xfrm>
          <a:custGeom>
            <a:avLst/>
            <a:gdLst/>
            <a:ahLst/>
            <a:cxnLst/>
            <a:rect l="l" t="t" r="r" b="b"/>
            <a:pathLst>
              <a:path w="3476625" h="2251075">
                <a:moveTo>
                  <a:pt x="0" y="2250948"/>
                </a:moveTo>
                <a:lnTo>
                  <a:pt x="3476244" y="2250948"/>
                </a:lnTo>
                <a:lnTo>
                  <a:pt x="3476244" y="0"/>
                </a:lnTo>
                <a:lnTo>
                  <a:pt x="0" y="0"/>
                </a:lnTo>
                <a:lnTo>
                  <a:pt x="0" y="2250948"/>
                </a:lnTo>
                <a:close/>
              </a:path>
            </a:pathLst>
          </a:custGeom>
          <a:ln w="28956">
            <a:solidFill>
              <a:schemeClr val="accent1"/>
            </a:solidFill>
          </a:ln>
        </p:spPr>
        <p:txBody>
          <a:bodyPr wrap="square" lIns="0" tIns="0" rIns="0" bIns="0" rtlCol="0"/>
          <a:lstStyle/>
          <a:p>
            <a:endParaRPr sz="1600"/>
          </a:p>
        </p:txBody>
      </p:sp>
      <p:sp>
        <p:nvSpPr>
          <p:cNvPr id="55" name="Content Placeholder 6">
            <a:extLst>
              <a:ext uri="{FF2B5EF4-FFF2-40B4-BE49-F238E27FC236}">
                <a16:creationId xmlns:a16="http://schemas.microsoft.com/office/drawing/2014/main" id="{D3FB60AF-7956-0318-7AEA-FD134FA262AC}"/>
              </a:ext>
            </a:extLst>
          </p:cNvPr>
          <p:cNvSpPr>
            <a:spLocks noGrp="1"/>
          </p:cNvSpPr>
          <p:nvPr>
            <p:ph sz="quarter" idx="14"/>
          </p:nvPr>
        </p:nvSpPr>
        <p:spPr>
          <a:xfrm>
            <a:off x="599497" y="1218403"/>
            <a:ext cx="5224654" cy="2599941"/>
          </a:xfrm>
        </p:spPr>
        <p:txBody>
          <a:bodyPr/>
          <a:lstStyle>
            <a:lvl1pPr marL="0" indent="0">
              <a:buNone/>
              <a:defRPr/>
            </a:lvl1pPr>
            <a:lvl2pPr algn="ctr">
              <a:defRPr sz="1600">
                <a:solidFill>
                  <a:schemeClr val="tx1"/>
                </a:solidFill>
                <a:effectLst/>
              </a:defRPr>
            </a:lvl2pPr>
            <a:lvl3pPr>
              <a:defRPr sz="1200"/>
            </a:lvl3pPr>
            <a:lvl4pPr>
              <a:defRPr sz="1200"/>
            </a:lvl4pPr>
            <a:lvl5pPr>
              <a:defRPr sz="1200"/>
            </a:lvl5pPr>
          </a:lstStyle>
          <a:p>
            <a:pPr lvl="1"/>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56" name="object 3">
            <a:extLst>
              <a:ext uri="{FF2B5EF4-FFF2-40B4-BE49-F238E27FC236}">
                <a16:creationId xmlns:a16="http://schemas.microsoft.com/office/drawing/2014/main" id="{6EE966FF-1291-96F9-7999-7AEC82967747}"/>
              </a:ext>
            </a:extLst>
          </p:cNvPr>
          <p:cNvSpPr/>
          <p:nvPr userDrawn="1"/>
        </p:nvSpPr>
        <p:spPr>
          <a:xfrm>
            <a:off x="463662" y="4057952"/>
            <a:ext cx="5517008" cy="2281180"/>
          </a:xfrm>
          <a:custGeom>
            <a:avLst/>
            <a:gdLst/>
            <a:ahLst/>
            <a:cxnLst/>
            <a:rect l="l" t="t" r="r" b="b"/>
            <a:pathLst>
              <a:path w="3476625" h="2251075">
                <a:moveTo>
                  <a:pt x="0" y="2250948"/>
                </a:moveTo>
                <a:lnTo>
                  <a:pt x="3476244" y="2250948"/>
                </a:lnTo>
                <a:lnTo>
                  <a:pt x="3476244" y="0"/>
                </a:lnTo>
                <a:lnTo>
                  <a:pt x="0" y="0"/>
                </a:lnTo>
                <a:lnTo>
                  <a:pt x="0" y="2250948"/>
                </a:lnTo>
                <a:close/>
              </a:path>
            </a:pathLst>
          </a:custGeom>
          <a:ln w="28956">
            <a:solidFill>
              <a:srgbClr val="92D050"/>
            </a:solidFill>
          </a:ln>
        </p:spPr>
        <p:txBody>
          <a:bodyPr wrap="square" lIns="0" tIns="0" rIns="0" bIns="0" rtlCol="0"/>
          <a:lstStyle/>
          <a:p>
            <a:endParaRPr sz="1600"/>
          </a:p>
        </p:txBody>
      </p:sp>
      <p:sp>
        <p:nvSpPr>
          <p:cNvPr id="58" name="object 3">
            <a:extLst>
              <a:ext uri="{FF2B5EF4-FFF2-40B4-BE49-F238E27FC236}">
                <a16:creationId xmlns:a16="http://schemas.microsoft.com/office/drawing/2014/main" id="{41D09936-E6CF-7A9A-09C9-EE6E5284E61C}"/>
              </a:ext>
            </a:extLst>
          </p:cNvPr>
          <p:cNvSpPr/>
          <p:nvPr userDrawn="1"/>
        </p:nvSpPr>
        <p:spPr>
          <a:xfrm>
            <a:off x="6211332" y="1590604"/>
            <a:ext cx="5452221" cy="2281180"/>
          </a:xfrm>
          <a:custGeom>
            <a:avLst/>
            <a:gdLst/>
            <a:ahLst/>
            <a:cxnLst/>
            <a:rect l="l" t="t" r="r" b="b"/>
            <a:pathLst>
              <a:path w="3476625" h="2251075">
                <a:moveTo>
                  <a:pt x="0" y="2250948"/>
                </a:moveTo>
                <a:lnTo>
                  <a:pt x="3476244" y="2250948"/>
                </a:lnTo>
                <a:lnTo>
                  <a:pt x="3476244" y="0"/>
                </a:lnTo>
                <a:lnTo>
                  <a:pt x="0" y="0"/>
                </a:lnTo>
                <a:lnTo>
                  <a:pt x="0" y="2250948"/>
                </a:lnTo>
                <a:close/>
              </a:path>
            </a:pathLst>
          </a:custGeom>
          <a:ln w="28956">
            <a:solidFill>
              <a:srgbClr val="92D050"/>
            </a:solidFill>
          </a:ln>
        </p:spPr>
        <p:txBody>
          <a:bodyPr wrap="square" lIns="0" tIns="0" rIns="0" bIns="0" rtlCol="0"/>
          <a:lstStyle/>
          <a:p>
            <a:endParaRPr sz="1600"/>
          </a:p>
        </p:txBody>
      </p:sp>
      <p:sp>
        <p:nvSpPr>
          <p:cNvPr id="3" name="Content Placeholder 6">
            <a:extLst>
              <a:ext uri="{FF2B5EF4-FFF2-40B4-BE49-F238E27FC236}">
                <a16:creationId xmlns:a16="http://schemas.microsoft.com/office/drawing/2014/main" id="{1651FC14-4078-58DD-B45A-89F5F20DE83E}"/>
              </a:ext>
            </a:extLst>
          </p:cNvPr>
          <p:cNvSpPr>
            <a:spLocks noGrp="1"/>
          </p:cNvSpPr>
          <p:nvPr>
            <p:ph sz="quarter" idx="21"/>
          </p:nvPr>
        </p:nvSpPr>
        <p:spPr>
          <a:xfrm>
            <a:off x="599498" y="3707027"/>
            <a:ext cx="5224654" cy="2611395"/>
          </a:xfrm>
        </p:spPr>
        <p:txBody>
          <a:bodyPr/>
          <a:lstStyle>
            <a:lvl1pPr marL="0" indent="0">
              <a:buNone/>
              <a:defRPr/>
            </a:lvl1pPr>
            <a:lvl2pPr algn="ctr">
              <a:defRPr sz="1600">
                <a:solidFill>
                  <a:schemeClr val="tx1"/>
                </a:solidFill>
                <a:effectLst/>
              </a:defRPr>
            </a:lvl2pPr>
            <a:lvl3pPr>
              <a:defRPr sz="1200"/>
            </a:lvl3pPr>
            <a:lvl4pPr>
              <a:defRPr sz="1200"/>
            </a:lvl4pPr>
            <a:lvl5pPr>
              <a:defRPr sz="1200"/>
            </a:lvl5pPr>
          </a:lstStyle>
          <a:p>
            <a:pPr lvl="1"/>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6">
            <a:extLst>
              <a:ext uri="{FF2B5EF4-FFF2-40B4-BE49-F238E27FC236}">
                <a16:creationId xmlns:a16="http://schemas.microsoft.com/office/drawing/2014/main" id="{54BA102D-9DFA-B890-6AE5-6B55756F9D91}"/>
              </a:ext>
            </a:extLst>
          </p:cNvPr>
          <p:cNvSpPr>
            <a:spLocks noGrp="1"/>
          </p:cNvSpPr>
          <p:nvPr>
            <p:ph sz="quarter" idx="22"/>
          </p:nvPr>
        </p:nvSpPr>
        <p:spPr>
          <a:xfrm>
            <a:off x="6367851" y="1227871"/>
            <a:ext cx="5128093" cy="2590473"/>
          </a:xfrm>
        </p:spPr>
        <p:txBody>
          <a:bodyPr/>
          <a:lstStyle>
            <a:lvl1pPr marL="0" indent="0">
              <a:buNone/>
              <a:defRPr/>
            </a:lvl1pPr>
            <a:lvl2pPr algn="ctr">
              <a:defRPr sz="1600">
                <a:solidFill>
                  <a:schemeClr val="tx1"/>
                </a:solidFill>
                <a:effectLst/>
              </a:defRPr>
            </a:lvl2pPr>
            <a:lvl3pPr>
              <a:defRPr sz="1200"/>
            </a:lvl3pPr>
            <a:lvl4pPr>
              <a:defRPr sz="1200"/>
            </a:lvl4pPr>
            <a:lvl5pPr>
              <a:defRPr sz="1200"/>
            </a:lvl5pPr>
          </a:lstStyle>
          <a:p>
            <a:pPr lvl="1"/>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object 3">
            <a:extLst>
              <a:ext uri="{FF2B5EF4-FFF2-40B4-BE49-F238E27FC236}">
                <a16:creationId xmlns:a16="http://schemas.microsoft.com/office/drawing/2014/main" id="{3D18896A-AAA5-3CD1-C74B-A420BF932173}"/>
              </a:ext>
            </a:extLst>
          </p:cNvPr>
          <p:cNvSpPr/>
          <p:nvPr userDrawn="1"/>
        </p:nvSpPr>
        <p:spPr>
          <a:xfrm>
            <a:off x="6211332" y="4057952"/>
            <a:ext cx="5452221" cy="2281180"/>
          </a:xfrm>
          <a:custGeom>
            <a:avLst/>
            <a:gdLst/>
            <a:ahLst/>
            <a:cxnLst/>
            <a:rect l="l" t="t" r="r" b="b"/>
            <a:pathLst>
              <a:path w="3476625" h="2251075">
                <a:moveTo>
                  <a:pt x="0" y="2250948"/>
                </a:moveTo>
                <a:lnTo>
                  <a:pt x="3476244" y="2250948"/>
                </a:lnTo>
                <a:lnTo>
                  <a:pt x="3476244" y="0"/>
                </a:lnTo>
                <a:lnTo>
                  <a:pt x="0" y="0"/>
                </a:lnTo>
                <a:lnTo>
                  <a:pt x="0" y="2250948"/>
                </a:lnTo>
                <a:close/>
              </a:path>
            </a:pathLst>
          </a:custGeom>
          <a:ln w="28956">
            <a:solidFill>
              <a:srgbClr val="92D050"/>
            </a:solidFill>
          </a:ln>
        </p:spPr>
        <p:txBody>
          <a:bodyPr wrap="square" lIns="0" tIns="0" rIns="0" bIns="0" rtlCol="0"/>
          <a:lstStyle/>
          <a:p>
            <a:endParaRPr sz="1600"/>
          </a:p>
        </p:txBody>
      </p:sp>
      <p:sp>
        <p:nvSpPr>
          <p:cNvPr id="6" name="Content Placeholder 6">
            <a:extLst>
              <a:ext uri="{FF2B5EF4-FFF2-40B4-BE49-F238E27FC236}">
                <a16:creationId xmlns:a16="http://schemas.microsoft.com/office/drawing/2014/main" id="{E6BF82CE-3D22-E6EC-BDC1-F99CCBC1C993}"/>
              </a:ext>
            </a:extLst>
          </p:cNvPr>
          <p:cNvSpPr>
            <a:spLocks noGrp="1"/>
          </p:cNvSpPr>
          <p:nvPr>
            <p:ph sz="quarter" idx="23"/>
          </p:nvPr>
        </p:nvSpPr>
        <p:spPr>
          <a:xfrm>
            <a:off x="6367851" y="3695219"/>
            <a:ext cx="5128093" cy="2590473"/>
          </a:xfrm>
        </p:spPr>
        <p:txBody>
          <a:bodyPr/>
          <a:lstStyle>
            <a:lvl1pPr marL="0" indent="0">
              <a:buNone/>
              <a:defRPr/>
            </a:lvl1pPr>
            <a:lvl2pPr algn="ctr">
              <a:defRPr sz="1600">
                <a:solidFill>
                  <a:schemeClr val="tx1"/>
                </a:solidFill>
                <a:effectLst/>
              </a:defRPr>
            </a:lvl2pPr>
            <a:lvl3pPr>
              <a:defRPr sz="1200"/>
            </a:lvl3pPr>
            <a:lvl4pPr>
              <a:defRPr sz="1200"/>
            </a:lvl4pPr>
            <a:lvl5pPr>
              <a:defRPr sz="1200"/>
            </a:lvl5pPr>
          </a:lstStyle>
          <a:p>
            <a:pPr lvl="1"/>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a:extLst>
              <a:ext uri="{FF2B5EF4-FFF2-40B4-BE49-F238E27FC236}">
                <a16:creationId xmlns:a16="http://schemas.microsoft.com/office/drawing/2014/main" id="{627C6E29-74A3-21F4-9437-16BA5E4CFCCC}"/>
              </a:ext>
            </a:extLst>
          </p:cNvPr>
          <p:cNvSpPr txBox="1"/>
          <p:nvPr userDrawn="1"/>
        </p:nvSpPr>
        <p:spPr>
          <a:xfrm>
            <a:off x="9818297" y="172023"/>
            <a:ext cx="1872051" cy="276999"/>
          </a:xfrm>
          <a:prstGeom prst="rect">
            <a:avLst/>
          </a:prstGeom>
          <a:noFill/>
          <a:ln w="28575">
            <a:noFill/>
          </a:ln>
        </p:spPr>
        <p:txBody>
          <a:bodyPr wrap="none" lIns="0" tIns="0" rIns="0" bIns="0" rtlCol="0">
            <a:spAutoFit/>
          </a:bodyPr>
          <a:lstStyle/>
          <a:p>
            <a:pPr marL="0" indent="0">
              <a:spcBef>
                <a:spcPts val="600"/>
              </a:spcBef>
              <a:buSzPct val="100000"/>
              <a:buFont typeface="Arial"/>
              <a:buNone/>
            </a:pPr>
            <a:r>
              <a:rPr lang="en-US" b="1" dirty="0">
                <a:solidFill>
                  <a:srgbClr val="FF0000"/>
                </a:solidFill>
              </a:rPr>
              <a:t>AI Generated Draft</a:t>
            </a:r>
          </a:p>
        </p:txBody>
      </p:sp>
    </p:spTree>
    <p:extLst>
      <p:ext uri="{BB962C8B-B14F-4D97-AF65-F5344CB8AC3E}">
        <p14:creationId xmlns:p14="http://schemas.microsoft.com/office/powerpoint/2010/main" val="4193617608"/>
      </p:ext>
    </p:extLst>
  </p:cSld>
  <p:clrMapOvr>
    <a:masterClrMapping/>
  </p:clrMapOvr>
  <p:transition>
    <p:fade/>
  </p:transition>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Qualifications 2 x 2">
    <p:spTree>
      <p:nvGrpSpPr>
        <p:cNvPr id="1" name=""/>
        <p:cNvGrpSpPr/>
        <p:nvPr/>
      </p:nvGrpSpPr>
      <p:grpSpPr>
        <a:xfrm>
          <a:off x="0" y="0"/>
          <a:ext cx="0" cy="0"/>
          <a:chOff x="0" y="0"/>
          <a:chExt cx="0" cy="0"/>
        </a:xfrm>
      </p:grpSpPr>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01650" y="651600"/>
            <a:ext cx="11188700" cy="334099"/>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7" name="object 5">
            <a:extLst>
              <a:ext uri="{FF2B5EF4-FFF2-40B4-BE49-F238E27FC236}">
                <a16:creationId xmlns:a16="http://schemas.microsoft.com/office/drawing/2014/main" id="{3564747E-2DB3-2979-3EEA-756FEF0EA1B8}"/>
              </a:ext>
            </a:extLst>
          </p:cNvPr>
          <p:cNvSpPr/>
          <p:nvPr userDrawn="1"/>
        </p:nvSpPr>
        <p:spPr>
          <a:xfrm>
            <a:off x="1278082" y="4003111"/>
            <a:ext cx="1775541" cy="393058"/>
          </a:xfrm>
          <a:custGeom>
            <a:avLst/>
            <a:gdLst/>
            <a:ahLst/>
            <a:cxnLst/>
            <a:rect l="l" t="t" r="r" b="b"/>
            <a:pathLst>
              <a:path w="3074035" h="338455">
                <a:moveTo>
                  <a:pt x="0" y="338327"/>
                </a:moveTo>
                <a:lnTo>
                  <a:pt x="3073908" y="338327"/>
                </a:lnTo>
                <a:lnTo>
                  <a:pt x="3073908" y="0"/>
                </a:lnTo>
                <a:lnTo>
                  <a:pt x="0" y="0"/>
                </a:lnTo>
                <a:lnTo>
                  <a:pt x="0" y="338327"/>
                </a:lnTo>
                <a:close/>
              </a:path>
            </a:pathLst>
          </a:custGeom>
          <a:solidFill>
            <a:srgbClr val="FFFFFF"/>
          </a:solidFill>
        </p:spPr>
        <p:txBody>
          <a:bodyPr wrap="square" lIns="0" tIns="0" rIns="0" bIns="0" rtlCol="0"/>
          <a:lstStyle/>
          <a:p>
            <a:endParaRPr sz="1600"/>
          </a:p>
        </p:txBody>
      </p:sp>
      <p:sp>
        <p:nvSpPr>
          <p:cNvPr id="8" name="object 3">
            <a:extLst>
              <a:ext uri="{FF2B5EF4-FFF2-40B4-BE49-F238E27FC236}">
                <a16:creationId xmlns:a16="http://schemas.microsoft.com/office/drawing/2014/main" id="{7055B7BC-207C-9938-D789-7B03723A5110}"/>
              </a:ext>
            </a:extLst>
          </p:cNvPr>
          <p:cNvSpPr/>
          <p:nvPr userDrawn="1"/>
        </p:nvSpPr>
        <p:spPr>
          <a:xfrm>
            <a:off x="463662" y="1590604"/>
            <a:ext cx="3476625" cy="2314453"/>
          </a:xfrm>
          <a:custGeom>
            <a:avLst/>
            <a:gdLst/>
            <a:ahLst/>
            <a:cxnLst/>
            <a:rect l="l" t="t" r="r" b="b"/>
            <a:pathLst>
              <a:path w="3476625" h="2251075">
                <a:moveTo>
                  <a:pt x="0" y="2250948"/>
                </a:moveTo>
                <a:lnTo>
                  <a:pt x="3476244" y="2250948"/>
                </a:lnTo>
                <a:lnTo>
                  <a:pt x="3476244" y="0"/>
                </a:lnTo>
                <a:lnTo>
                  <a:pt x="0" y="0"/>
                </a:lnTo>
                <a:lnTo>
                  <a:pt x="0" y="2250948"/>
                </a:lnTo>
                <a:close/>
              </a:path>
            </a:pathLst>
          </a:custGeom>
          <a:ln w="28956">
            <a:solidFill>
              <a:schemeClr val="accent1"/>
            </a:solidFill>
          </a:ln>
        </p:spPr>
        <p:txBody>
          <a:bodyPr wrap="square" lIns="0" tIns="0" rIns="0" bIns="0" rtlCol="0"/>
          <a:lstStyle/>
          <a:p>
            <a:endParaRPr sz="1600"/>
          </a:p>
        </p:txBody>
      </p:sp>
      <p:sp>
        <p:nvSpPr>
          <p:cNvPr id="55" name="Content Placeholder 6">
            <a:extLst>
              <a:ext uri="{FF2B5EF4-FFF2-40B4-BE49-F238E27FC236}">
                <a16:creationId xmlns:a16="http://schemas.microsoft.com/office/drawing/2014/main" id="{D3FB60AF-7956-0318-7AEA-FD134FA262AC}"/>
              </a:ext>
            </a:extLst>
          </p:cNvPr>
          <p:cNvSpPr>
            <a:spLocks noGrp="1"/>
          </p:cNvSpPr>
          <p:nvPr>
            <p:ph sz="quarter" idx="14"/>
          </p:nvPr>
        </p:nvSpPr>
        <p:spPr>
          <a:xfrm>
            <a:off x="599497" y="1218403"/>
            <a:ext cx="3204954" cy="2674431"/>
          </a:xfrm>
        </p:spPr>
        <p:txBody>
          <a:bodyPr/>
          <a:lstStyle>
            <a:lvl1pPr marL="0" indent="0">
              <a:buNone/>
              <a:defRPr/>
            </a:lvl1pPr>
            <a:lvl2pPr algn="ctr">
              <a:defRPr sz="1600">
                <a:solidFill>
                  <a:schemeClr val="tx1"/>
                </a:solidFill>
                <a:effectLst/>
              </a:defRPr>
            </a:lvl2pPr>
            <a:lvl3pPr>
              <a:defRPr sz="1200"/>
            </a:lvl3pPr>
            <a:lvl4pPr>
              <a:defRPr sz="1200"/>
            </a:lvl4pPr>
            <a:lvl5pPr>
              <a:defRPr sz="1200"/>
            </a:lvl5pPr>
          </a:lstStyle>
          <a:p>
            <a:pPr lvl="1"/>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56" name="object 3">
            <a:extLst>
              <a:ext uri="{FF2B5EF4-FFF2-40B4-BE49-F238E27FC236}">
                <a16:creationId xmlns:a16="http://schemas.microsoft.com/office/drawing/2014/main" id="{6EE966FF-1291-96F9-7999-7AEC82967747}"/>
              </a:ext>
            </a:extLst>
          </p:cNvPr>
          <p:cNvSpPr/>
          <p:nvPr userDrawn="1"/>
        </p:nvSpPr>
        <p:spPr>
          <a:xfrm>
            <a:off x="4325295" y="1590604"/>
            <a:ext cx="3476625" cy="2314453"/>
          </a:xfrm>
          <a:custGeom>
            <a:avLst/>
            <a:gdLst/>
            <a:ahLst/>
            <a:cxnLst/>
            <a:rect l="l" t="t" r="r" b="b"/>
            <a:pathLst>
              <a:path w="3476625" h="2251075">
                <a:moveTo>
                  <a:pt x="0" y="2250948"/>
                </a:moveTo>
                <a:lnTo>
                  <a:pt x="3476244" y="2250948"/>
                </a:lnTo>
                <a:lnTo>
                  <a:pt x="3476244" y="0"/>
                </a:lnTo>
                <a:lnTo>
                  <a:pt x="0" y="0"/>
                </a:lnTo>
                <a:lnTo>
                  <a:pt x="0" y="2250948"/>
                </a:lnTo>
                <a:close/>
              </a:path>
            </a:pathLst>
          </a:custGeom>
          <a:ln w="28956">
            <a:solidFill>
              <a:srgbClr val="92D050"/>
            </a:solidFill>
          </a:ln>
        </p:spPr>
        <p:txBody>
          <a:bodyPr wrap="square" lIns="0" tIns="0" rIns="0" bIns="0" rtlCol="0"/>
          <a:lstStyle/>
          <a:p>
            <a:endParaRPr sz="1600"/>
          </a:p>
        </p:txBody>
      </p:sp>
      <p:sp>
        <p:nvSpPr>
          <p:cNvPr id="58" name="object 3">
            <a:extLst>
              <a:ext uri="{FF2B5EF4-FFF2-40B4-BE49-F238E27FC236}">
                <a16:creationId xmlns:a16="http://schemas.microsoft.com/office/drawing/2014/main" id="{41D09936-E6CF-7A9A-09C9-EE6E5284E61C}"/>
              </a:ext>
            </a:extLst>
          </p:cNvPr>
          <p:cNvSpPr/>
          <p:nvPr userDrawn="1"/>
        </p:nvSpPr>
        <p:spPr>
          <a:xfrm>
            <a:off x="8186928" y="1590604"/>
            <a:ext cx="3476625" cy="2314453"/>
          </a:xfrm>
          <a:custGeom>
            <a:avLst/>
            <a:gdLst/>
            <a:ahLst/>
            <a:cxnLst/>
            <a:rect l="l" t="t" r="r" b="b"/>
            <a:pathLst>
              <a:path w="3476625" h="2251075">
                <a:moveTo>
                  <a:pt x="0" y="2250948"/>
                </a:moveTo>
                <a:lnTo>
                  <a:pt x="3476244" y="2250948"/>
                </a:lnTo>
                <a:lnTo>
                  <a:pt x="3476244" y="0"/>
                </a:lnTo>
                <a:lnTo>
                  <a:pt x="0" y="0"/>
                </a:lnTo>
                <a:lnTo>
                  <a:pt x="0" y="2250948"/>
                </a:lnTo>
                <a:close/>
              </a:path>
            </a:pathLst>
          </a:custGeom>
          <a:ln w="28956">
            <a:solidFill>
              <a:srgbClr val="92D050"/>
            </a:solidFill>
          </a:ln>
        </p:spPr>
        <p:txBody>
          <a:bodyPr wrap="square" lIns="0" tIns="0" rIns="0" bIns="0" rtlCol="0"/>
          <a:lstStyle/>
          <a:p>
            <a:endParaRPr sz="1600"/>
          </a:p>
        </p:txBody>
      </p:sp>
      <p:sp>
        <p:nvSpPr>
          <p:cNvPr id="60" name="object 3">
            <a:extLst>
              <a:ext uri="{FF2B5EF4-FFF2-40B4-BE49-F238E27FC236}">
                <a16:creationId xmlns:a16="http://schemas.microsoft.com/office/drawing/2014/main" id="{C5731DE6-5AFC-B559-38B3-F5C470AB2F62}"/>
              </a:ext>
            </a:extLst>
          </p:cNvPr>
          <p:cNvSpPr/>
          <p:nvPr userDrawn="1"/>
        </p:nvSpPr>
        <p:spPr>
          <a:xfrm>
            <a:off x="501649" y="4196100"/>
            <a:ext cx="3476625" cy="2314453"/>
          </a:xfrm>
          <a:custGeom>
            <a:avLst/>
            <a:gdLst/>
            <a:ahLst/>
            <a:cxnLst/>
            <a:rect l="l" t="t" r="r" b="b"/>
            <a:pathLst>
              <a:path w="3476625" h="2251075">
                <a:moveTo>
                  <a:pt x="0" y="2250948"/>
                </a:moveTo>
                <a:lnTo>
                  <a:pt x="3476244" y="2250948"/>
                </a:lnTo>
                <a:lnTo>
                  <a:pt x="3476244" y="0"/>
                </a:lnTo>
                <a:lnTo>
                  <a:pt x="0" y="0"/>
                </a:lnTo>
                <a:lnTo>
                  <a:pt x="0" y="2250948"/>
                </a:lnTo>
                <a:close/>
              </a:path>
            </a:pathLst>
          </a:custGeom>
          <a:ln w="28956">
            <a:solidFill>
              <a:srgbClr val="92D050"/>
            </a:solidFill>
          </a:ln>
        </p:spPr>
        <p:txBody>
          <a:bodyPr wrap="square" lIns="0" tIns="0" rIns="0" bIns="0" rtlCol="0"/>
          <a:lstStyle/>
          <a:p>
            <a:endParaRPr sz="1600"/>
          </a:p>
        </p:txBody>
      </p:sp>
      <p:sp>
        <p:nvSpPr>
          <p:cNvPr id="62" name="object 3">
            <a:extLst>
              <a:ext uri="{FF2B5EF4-FFF2-40B4-BE49-F238E27FC236}">
                <a16:creationId xmlns:a16="http://schemas.microsoft.com/office/drawing/2014/main" id="{8BCE0A8D-8346-819C-EBFF-FF0784927774}"/>
              </a:ext>
            </a:extLst>
          </p:cNvPr>
          <p:cNvSpPr/>
          <p:nvPr userDrawn="1"/>
        </p:nvSpPr>
        <p:spPr>
          <a:xfrm>
            <a:off x="8199994" y="4171874"/>
            <a:ext cx="3476625" cy="2314453"/>
          </a:xfrm>
          <a:custGeom>
            <a:avLst/>
            <a:gdLst/>
            <a:ahLst/>
            <a:cxnLst/>
            <a:rect l="l" t="t" r="r" b="b"/>
            <a:pathLst>
              <a:path w="3476625" h="2251075">
                <a:moveTo>
                  <a:pt x="0" y="2250948"/>
                </a:moveTo>
                <a:lnTo>
                  <a:pt x="3476244" y="2250948"/>
                </a:lnTo>
                <a:lnTo>
                  <a:pt x="3476244" y="0"/>
                </a:lnTo>
                <a:lnTo>
                  <a:pt x="0" y="0"/>
                </a:lnTo>
                <a:lnTo>
                  <a:pt x="0" y="2250948"/>
                </a:lnTo>
                <a:close/>
              </a:path>
            </a:pathLst>
          </a:custGeom>
          <a:ln w="28956">
            <a:solidFill>
              <a:srgbClr val="92D050"/>
            </a:solidFill>
          </a:ln>
        </p:spPr>
        <p:txBody>
          <a:bodyPr wrap="square" lIns="0" tIns="0" rIns="0" bIns="0" rtlCol="0"/>
          <a:lstStyle/>
          <a:p>
            <a:endParaRPr sz="1600"/>
          </a:p>
        </p:txBody>
      </p:sp>
      <p:sp>
        <p:nvSpPr>
          <p:cNvPr id="64" name="object 3">
            <a:extLst>
              <a:ext uri="{FF2B5EF4-FFF2-40B4-BE49-F238E27FC236}">
                <a16:creationId xmlns:a16="http://schemas.microsoft.com/office/drawing/2014/main" id="{4610A833-E448-09A2-6064-840C89BE9D7A}"/>
              </a:ext>
            </a:extLst>
          </p:cNvPr>
          <p:cNvSpPr/>
          <p:nvPr userDrawn="1"/>
        </p:nvSpPr>
        <p:spPr>
          <a:xfrm>
            <a:off x="4325295" y="4185789"/>
            <a:ext cx="3476625" cy="2314453"/>
          </a:xfrm>
          <a:custGeom>
            <a:avLst/>
            <a:gdLst/>
            <a:ahLst/>
            <a:cxnLst/>
            <a:rect l="l" t="t" r="r" b="b"/>
            <a:pathLst>
              <a:path w="3476625" h="2251075">
                <a:moveTo>
                  <a:pt x="0" y="2250948"/>
                </a:moveTo>
                <a:lnTo>
                  <a:pt x="3476244" y="2250948"/>
                </a:lnTo>
                <a:lnTo>
                  <a:pt x="3476244" y="0"/>
                </a:lnTo>
                <a:lnTo>
                  <a:pt x="0" y="0"/>
                </a:lnTo>
                <a:lnTo>
                  <a:pt x="0" y="2250948"/>
                </a:lnTo>
                <a:close/>
              </a:path>
            </a:pathLst>
          </a:custGeom>
          <a:ln w="28956">
            <a:solidFill>
              <a:srgbClr val="92D050"/>
            </a:solidFill>
          </a:ln>
        </p:spPr>
        <p:txBody>
          <a:bodyPr wrap="square" lIns="0" tIns="0" rIns="0" bIns="0" rtlCol="0"/>
          <a:lstStyle/>
          <a:p>
            <a:endParaRPr sz="1600"/>
          </a:p>
        </p:txBody>
      </p:sp>
      <p:sp>
        <p:nvSpPr>
          <p:cNvPr id="3" name="Content Placeholder 6">
            <a:extLst>
              <a:ext uri="{FF2B5EF4-FFF2-40B4-BE49-F238E27FC236}">
                <a16:creationId xmlns:a16="http://schemas.microsoft.com/office/drawing/2014/main" id="{1651FC14-4078-58DD-B45A-89F5F20DE83E}"/>
              </a:ext>
            </a:extLst>
          </p:cNvPr>
          <p:cNvSpPr>
            <a:spLocks noGrp="1"/>
          </p:cNvSpPr>
          <p:nvPr>
            <p:ph sz="quarter" idx="21"/>
          </p:nvPr>
        </p:nvSpPr>
        <p:spPr>
          <a:xfrm>
            <a:off x="4493521" y="1218403"/>
            <a:ext cx="3204954" cy="2674431"/>
          </a:xfrm>
        </p:spPr>
        <p:txBody>
          <a:bodyPr/>
          <a:lstStyle>
            <a:lvl1pPr marL="0" indent="0">
              <a:buNone/>
              <a:defRPr/>
            </a:lvl1pPr>
            <a:lvl2pPr algn="ctr">
              <a:defRPr sz="1600">
                <a:solidFill>
                  <a:schemeClr val="tx1"/>
                </a:solidFill>
                <a:effectLst/>
              </a:defRPr>
            </a:lvl2pPr>
            <a:lvl3pPr>
              <a:defRPr sz="1200"/>
            </a:lvl3pPr>
            <a:lvl4pPr>
              <a:defRPr sz="1200"/>
            </a:lvl4pPr>
            <a:lvl5pPr>
              <a:defRPr sz="1200"/>
            </a:lvl5pPr>
          </a:lstStyle>
          <a:p>
            <a:pPr lvl="1"/>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6">
            <a:extLst>
              <a:ext uri="{FF2B5EF4-FFF2-40B4-BE49-F238E27FC236}">
                <a16:creationId xmlns:a16="http://schemas.microsoft.com/office/drawing/2014/main" id="{54BA102D-9DFA-B890-6AE5-6B55756F9D91}"/>
              </a:ext>
            </a:extLst>
          </p:cNvPr>
          <p:cNvSpPr>
            <a:spLocks noGrp="1"/>
          </p:cNvSpPr>
          <p:nvPr>
            <p:ph sz="quarter" idx="22"/>
          </p:nvPr>
        </p:nvSpPr>
        <p:spPr>
          <a:xfrm>
            <a:off x="8290990" y="1227871"/>
            <a:ext cx="3204954" cy="2674431"/>
          </a:xfrm>
        </p:spPr>
        <p:txBody>
          <a:bodyPr/>
          <a:lstStyle>
            <a:lvl1pPr marL="0" indent="0">
              <a:buNone/>
              <a:defRPr/>
            </a:lvl1pPr>
            <a:lvl2pPr algn="ctr">
              <a:defRPr sz="1600">
                <a:solidFill>
                  <a:schemeClr val="tx1"/>
                </a:solidFill>
                <a:effectLst/>
              </a:defRPr>
            </a:lvl2pPr>
            <a:lvl3pPr>
              <a:defRPr sz="1200"/>
            </a:lvl3pPr>
            <a:lvl4pPr>
              <a:defRPr sz="1200"/>
            </a:lvl4pPr>
            <a:lvl5pPr>
              <a:defRPr sz="1200"/>
            </a:lvl5pPr>
          </a:lstStyle>
          <a:p>
            <a:pPr lvl="1"/>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6">
            <a:extLst>
              <a:ext uri="{FF2B5EF4-FFF2-40B4-BE49-F238E27FC236}">
                <a16:creationId xmlns:a16="http://schemas.microsoft.com/office/drawing/2014/main" id="{9139A8AE-D29D-792D-BB31-2C6E7095D098}"/>
              </a:ext>
            </a:extLst>
          </p:cNvPr>
          <p:cNvSpPr>
            <a:spLocks noGrp="1"/>
          </p:cNvSpPr>
          <p:nvPr>
            <p:ph sz="quarter" idx="23"/>
          </p:nvPr>
        </p:nvSpPr>
        <p:spPr>
          <a:xfrm>
            <a:off x="8333635" y="3811896"/>
            <a:ext cx="3204954" cy="2674431"/>
          </a:xfrm>
        </p:spPr>
        <p:txBody>
          <a:bodyPr/>
          <a:lstStyle>
            <a:lvl1pPr marL="0" indent="0">
              <a:buNone/>
              <a:defRPr/>
            </a:lvl1pPr>
            <a:lvl2pPr algn="ctr">
              <a:defRPr sz="1600">
                <a:solidFill>
                  <a:schemeClr val="tx1"/>
                </a:solidFill>
                <a:effectLst/>
              </a:defRPr>
            </a:lvl2pPr>
            <a:lvl3pPr>
              <a:defRPr sz="1200"/>
            </a:lvl3pPr>
            <a:lvl4pPr>
              <a:defRPr sz="1200"/>
            </a:lvl4pPr>
            <a:lvl5pPr>
              <a:defRPr sz="1200"/>
            </a:lvl5pPr>
          </a:lstStyle>
          <a:p>
            <a:pPr lvl="1"/>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6">
            <a:extLst>
              <a:ext uri="{FF2B5EF4-FFF2-40B4-BE49-F238E27FC236}">
                <a16:creationId xmlns:a16="http://schemas.microsoft.com/office/drawing/2014/main" id="{E0A8C702-F018-DF65-0F87-00576CA718F7}"/>
              </a:ext>
            </a:extLst>
          </p:cNvPr>
          <p:cNvSpPr>
            <a:spLocks noGrp="1"/>
          </p:cNvSpPr>
          <p:nvPr>
            <p:ph sz="quarter" idx="24"/>
          </p:nvPr>
        </p:nvSpPr>
        <p:spPr>
          <a:xfrm>
            <a:off x="4456859" y="3821421"/>
            <a:ext cx="3204954" cy="2674431"/>
          </a:xfrm>
        </p:spPr>
        <p:txBody>
          <a:bodyPr/>
          <a:lstStyle>
            <a:lvl1pPr marL="0" indent="0">
              <a:buNone/>
              <a:defRPr/>
            </a:lvl1pPr>
            <a:lvl2pPr algn="ctr">
              <a:defRPr sz="1600">
                <a:solidFill>
                  <a:schemeClr val="tx1"/>
                </a:solidFill>
                <a:effectLst/>
              </a:defRPr>
            </a:lvl2pPr>
            <a:lvl3pPr>
              <a:defRPr sz="1200"/>
            </a:lvl3pPr>
            <a:lvl4pPr>
              <a:defRPr sz="1200"/>
            </a:lvl4pPr>
            <a:lvl5pPr>
              <a:defRPr sz="1200"/>
            </a:lvl5pPr>
          </a:lstStyle>
          <a:p>
            <a:pPr lvl="1"/>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6">
            <a:extLst>
              <a:ext uri="{FF2B5EF4-FFF2-40B4-BE49-F238E27FC236}">
                <a16:creationId xmlns:a16="http://schemas.microsoft.com/office/drawing/2014/main" id="{7EA9202E-9B28-7EE8-2996-6118EDCFE8F7}"/>
              </a:ext>
            </a:extLst>
          </p:cNvPr>
          <p:cNvSpPr>
            <a:spLocks noGrp="1"/>
          </p:cNvSpPr>
          <p:nvPr>
            <p:ph sz="quarter" idx="25"/>
          </p:nvPr>
        </p:nvSpPr>
        <p:spPr>
          <a:xfrm>
            <a:off x="625674" y="3821421"/>
            <a:ext cx="3204954" cy="2674431"/>
          </a:xfrm>
        </p:spPr>
        <p:txBody>
          <a:bodyPr/>
          <a:lstStyle>
            <a:lvl1pPr marL="0" indent="0">
              <a:buNone/>
              <a:defRPr/>
            </a:lvl1pPr>
            <a:lvl2pPr algn="ctr">
              <a:defRPr sz="1600">
                <a:solidFill>
                  <a:schemeClr val="tx1"/>
                </a:solidFill>
                <a:effectLst/>
              </a:defRPr>
            </a:lvl2pPr>
            <a:lvl3pPr>
              <a:defRPr sz="1200"/>
            </a:lvl3pPr>
            <a:lvl4pPr>
              <a:defRPr sz="1200"/>
            </a:lvl4pPr>
            <a:lvl5pPr>
              <a:defRPr sz="1200"/>
            </a:lvl5pPr>
          </a:lstStyle>
          <a:p>
            <a:pPr lvl="1"/>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id="{B687E4B2-C649-E606-CC16-2BE974434B56}"/>
              </a:ext>
            </a:extLst>
          </p:cNvPr>
          <p:cNvSpPr txBox="1"/>
          <p:nvPr userDrawn="1"/>
        </p:nvSpPr>
        <p:spPr>
          <a:xfrm>
            <a:off x="9818297" y="172023"/>
            <a:ext cx="1872051" cy="276999"/>
          </a:xfrm>
          <a:prstGeom prst="rect">
            <a:avLst/>
          </a:prstGeom>
          <a:noFill/>
          <a:ln w="28575">
            <a:noFill/>
          </a:ln>
        </p:spPr>
        <p:txBody>
          <a:bodyPr wrap="none" lIns="0" tIns="0" rIns="0" bIns="0" rtlCol="0">
            <a:spAutoFit/>
          </a:bodyPr>
          <a:lstStyle/>
          <a:p>
            <a:pPr marL="0" indent="0">
              <a:spcBef>
                <a:spcPts val="600"/>
              </a:spcBef>
              <a:buSzPct val="100000"/>
              <a:buFont typeface="Arial"/>
              <a:buNone/>
            </a:pPr>
            <a:r>
              <a:rPr lang="en-US" b="1" dirty="0">
                <a:solidFill>
                  <a:srgbClr val="FF0000"/>
                </a:solidFill>
              </a:rPr>
              <a:t>AI Generated Draft</a:t>
            </a:r>
          </a:p>
        </p:txBody>
      </p:sp>
    </p:spTree>
    <p:extLst>
      <p:ext uri="{BB962C8B-B14F-4D97-AF65-F5344CB8AC3E}">
        <p14:creationId xmlns:p14="http://schemas.microsoft.com/office/powerpoint/2010/main" val="1361018834"/>
      </p:ext>
    </p:extLst>
  </p:cSld>
  <p:clrMapOvr>
    <a:masterClrMapping/>
  </p:clrMapOvr>
  <p:transition>
    <p:fade/>
  </p:transition>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_Qualifications 2 x 2">
    <p:spTree>
      <p:nvGrpSpPr>
        <p:cNvPr id="1" name=""/>
        <p:cNvGrpSpPr/>
        <p:nvPr/>
      </p:nvGrpSpPr>
      <p:grpSpPr>
        <a:xfrm>
          <a:off x="0" y="0"/>
          <a:ext cx="0" cy="0"/>
          <a:chOff x="0" y="0"/>
          <a:chExt cx="0" cy="0"/>
        </a:xfrm>
      </p:grpSpPr>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01650" y="651600"/>
            <a:ext cx="11188700" cy="334099"/>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7" name="object 5">
            <a:extLst>
              <a:ext uri="{FF2B5EF4-FFF2-40B4-BE49-F238E27FC236}">
                <a16:creationId xmlns:a16="http://schemas.microsoft.com/office/drawing/2014/main" id="{3564747E-2DB3-2979-3EEA-756FEF0EA1B8}"/>
              </a:ext>
            </a:extLst>
          </p:cNvPr>
          <p:cNvSpPr/>
          <p:nvPr userDrawn="1"/>
        </p:nvSpPr>
        <p:spPr>
          <a:xfrm>
            <a:off x="1278082" y="4003111"/>
            <a:ext cx="1775541" cy="393058"/>
          </a:xfrm>
          <a:custGeom>
            <a:avLst/>
            <a:gdLst/>
            <a:ahLst/>
            <a:cxnLst/>
            <a:rect l="l" t="t" r="r" b="b"/>
            <a:pathLst>
              <a:path w="3074035" h="338455">
                <a:moveTo>
                  <a:pt x="0" y="338327"/>
                </a:moveTo>
                <a:lnTo>
                  <a:pt x="3073908" y="338327"/>
                </a:lnTo>
                <a:lnTo>
                  <a:pt x="3073908" y="0"/>
                </a:lnTo>
                <a:lnTo>
                  <a:pt x="0" y="0"/>
                </a:lnTo>
                <a:lnTo>
                  <a:pt x="0" y="338327"/>
                </a:lnTo>
                <a:close/>
              </a:path>
            </a:pathLst>
          </a:custGeom>
          <a:solidFill>
            <a:srgbClr val="FFFFFF"/>
          </a:solidFill>
        </p:spPr>
        <p:txBody>
          <a:bodyPr wrap="square" lIns="0" tIns="0" rIns="0" bIns="0" rtlCol="0"/>
          <a:lstStyle/>
          <a:p>
            <a:endParaRPr sz="1600"/>
          </a:p>
        </p:txBody>
      </p:sp>
      <p:sp>
        <p:nvSpPr>
          <p:cNvPr id="8" name="object 3">
            <a:extLst>
              <a:ext uri="{FF2B5EF4-FFF2-40B4-BE49-F238E27FC236}">
                <a16:creationId xmlns:a16="http://schemas.microsoft.com/office/drawing/2014/main" id="{7055B7BC-207C-9938-D789-7B03723A5110}"/>
              </a:ext>
            </a:extLst>
          </p:cNvPr>
          <p:cNvSpPr/>
          <p:nvPr userDrawn="1"/>
        </p:nvSpPr>
        <p:spPr>
          <a:xfrm>
            <a:off x="463662" y="1590604"/>
            <a:ext cx="3476625" cy="4834910"/>
          </a:xfrm>
          <a:custGeom>
            <a:avLst/>
            <a:gdLst/>
            <a:ahLst/>
            <a:cxnLst/>
            <a:rect l="l" t="t" r="r" b="b"/>
            <a:pathLst>
              <a:path w="3476625" h="2251075">
                <a:moveTo>
                  <a:pt x="0" y="2250948"/>
                </a:moveTo>
                <a:lnTo>
                  <a:pt x="3476244" y="2250948"/>
                </a:lnTo>
                <a:lnTo>
                  <a:pt x="3476244" y="0"/>
                </a:lnTo>
                <a:lnTo>
                  <a:pt x="0" y="0"/>
                </a:lnTo>
                <a:lnTo>
                  <a:pt x="0" y="2250948"/>
                </a:lnTo>
                <a:close/>
              </a:path>
            </a:pathLst>
          </a:custGeom>
          <a:ln w="28956">
            <a:solidFill>
              <a:schemeClr val="accent1"/>
            </a:solidFill>
          </a:ln>
        </p:spPr>
        <p:txBody>
          <a:bodyPr wrap="square" lIns="0" tIns="0" rIns="0" bIns="0" rtlCol="0"/>
          <a:lstStyle/>
          <a:p>
            <a:endParaRPr sz="1600"/>
          </a:p>
        </p:txBody>
      </p:sp>
      <p:sp>
        <p:nvSpPr>
          <p:cNvPr id="55" name="Content Placeholder 6">
            <a:extLst>
              <a:ext uri="{FF2B5EF4-FFF2-40B4-BE49-F238E27FC236}">
                <a16:creationId xmlns:a16="http://schemas.microsoft.com/office/drawing/2014/main" id="{D3FB60AF-7956-0318-7AEA-FD134FA262AC}"/>
              </a:ext>
            </a:extLst>
          </p:cNvPr>
          <p:cNvSpPr>
            <a:spLocks noGrp="1"/>
          </p:cNvSpPr>
          <p:nvPr>
            <p:ph sz="quarter" idx="14"/>
          </p:nvPr>
        </p:nvSpPr>
        <p:spPr>
          <a:xfrm>
            <a:off x="599497" y="1218403"/>
            <a:ext cx="3204954" cy="5100019"/>
          </a:xfrm>
        </p:spPr>
        <p:txBody>
          <a:bodyPr/>
          <a:lstStyle>
            <a:lvl1pPr marL="0" indent="0">
              <a:buNone/>
              <a:defRPr/>
            </a:lvl1pPr>
            <a:lvl2pPr algn="ctr">
              <a:defRPr sz="1600">
                <a:solidFill>
                  <a:schemeClr val="tx1"/>
                </a:solidFill>
                <a:effectLst/>
              </a:defRPr>
            </a:lvl2pPr>
            <a:lvl3pPr>
              <a:defRPr sz="1200"/>
            </a:lvl3pPr>
            <a:lvl4pPr>
              <a:defRPr sz="1200"/>
            </a:lvl4pPr>
            <a:lvl5pPr>
              <a:defRPr sz="1200"/>
            </a:lvl5pPr>
          </a:lstStyle>
          <a:p>
            <a:pPr lvl="1"/>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56" name="object 3">
            <a:extLst>
              <a:ext uri="{FF2B5EF4-FFF2-40B4-BE49-F238E27FC236}">
                <a16:creationId xmlns:a16="http://schemas.microsoft.com/office/drawing/2014/main" id="{6EE966FF-1291-96F9-7999-7AEC82967747}"/>
              </a:ext>
            </a:extLst>
          </p:cNvPr>
          <p:cNvSpPr/>
          <p:nvPr userDrawn="1"/>
        </p:nvSpPr>
        <p:spPr>
          <a:xfrm>
            <a:off x="4325295" y="1590604"/>
            <a:ext cx="3476625" cy="4826203"/>
          </a:xfrm>
          <a:custGeom>
            <a:avLst/>
            <a:gdLst/>
            <a:ahLst/>
            <a:cxnLst/>
            <a:rect l="l" t="t" r="r" b="b"/>
            <a:pathLst>
              <a:path w="3476625" h="2251075">
                <a:moveTo>
                  <a:pt x="0" y="2250948"/>
                </a:moveTo>
                <a:lnTo>
                  <a:pt x="3476244" y="2250948"/>
                </a:lnTo>
                <a:lnTo>
                  <a:pt x="3476244" y="0"/>
                </a:lnTo>
                <a:lnTo>
                  <a:pt x="0" y="0"/>
                </a:lnTo>
                <a:lnTo>
                  <a:pt x="0" y="2250948"/>
                </a:lnTo>
                <a:close/>
              </a:path>
            </a:pathLst>
          </a:custGeom>
          <a:ln w="28956">
            <a:solidFill>
              <a:srgbClr val="92D050"/>
            </a:solidFill>
          </a:ln>
        </p:spPr>
        <p:txBody>
          <a:bodyPr wrap="square" lIns="0" tIns="0" rIns="0" bIns="0" rtlCol="0"/>
          <a:lstStyle/>
          <a:p>
            <a:endParaRPr sz="1600"/>
          </a:p>
        </p:txBody>
      </p:sp>
      <p:sp>
        <p:nvSpPr>
          <p:cNvPr id="58" name="object 3">
            <a:extLst>
              <a:ext uri="{FF2B5EF4-FFF2-40B4-BE49-F238E27FC236}">
                <a16:creationId xmlns:a16="http://schemas.microsoft.com/office/drawing/2014/main" id="{41D09936-E6CF-7A9A-09C9-EE6E5284E61C}"/>
              </a:ext>
            </a:extLst>
          </p:cNvPr>
          <p:cNvSpPr/>
          <p:nvPr userDrawn="1"/>
        </p:nvSpPr>
        <p:spPr>
          <a:xfrm>
            <a:off x="8186928" y="1590604"/>
            <a:ext cx="3476625" cy="4834910"/>
          </a:xfrm>
          <a:custGeom>
            <a:avLst/>
            <a:gdLst/>
            <a:ahLst/>
            <a:cxnLst/>
            <a:rect l="l" t="t" r="r" b="b"/>
            <a:pathLst>
              <a:path w="3476625" h="2251075">
                <a:moveTo>
                  <a:pt x="0" y="2250948"/>
                </a:moveTo>
                <a:lnTo>
                  <a:pt x="3476244" y="2250948"/>
                </a:lnTo>
                <a:lnTo>
                  <a:pt x="3476244" y="0"/>
                </a:lnTo>
                <a:lnTo>
                  <a:pt x="0" y="0"/>
                </a:lnTo>
                <a:lnTo>
                  <a:pt x="0" y="2250948"/>
                </a:lnTo>
                <a:close/>
              </a:path>
            </a:pathLst>
          </a:custGeom>
          <a:ln w="28956">
            <a:solidFill>
              <a:srgbClr val="92D050"/>
            </a:solidFill>
          </a:ln>
        </p:spPr>
        <p:txBody>
          <a:bodyPr wrap="square" lIns="0" tIns="0" rIns="0" bIns="0" rtlCol="0"/>
          <a:lstStyle/>
          <a:p>
            <a:endParaRPr sz="1600"/>
          </a:p>
        </p:txBody>
      </p:sp>
      <p:sp>
        <p:nvSpPr>
          <p:cNvPr id="3" name="Content Placeholder 6">
            <a:extLst>
              <a:ext uri="{FF2B5EF4-FFF2-40B4-BE49-F238E27FC236}">
                <a16:creationId xmlns:a16="http://schemas.microsoft.com/office/drawing/2014/main" id="{1651FC14-4078-58DD-B45A-89F5F20DE83E}"/>
              </a:ext>
            </a:extLst>
          </p:cNvPr>
          <p:cNvSpPr>
            <a:spLocks noGrp="1"/>
          </p:cNvSpPr>
          <p:nvPr>
            <p:ph sz="quarter" idx="21"/>
          </p:nvPr>
        </p:nvSpPr>
        <p:spPr>
          <a:xfrm>
            <a:off x="4493521" y="1218403"/>
            <a:ext cx="3204954" cy="5100019"/>
          </a:xfrm>
        </p:spPr>
        <p:txBody>
          <a:bodyPr/>
          <a:lstStyle>
            <a:lvl1pPr marL="0" indent="0">
              <a:buNone/>
              <a:defRPr/>
            </a:lvl1pPr>
            <a:lvl2pPr algn="ctr">
              <a:defRPr sz="1600">
                <a:solidFill>
                  <a:schemeClr val="tx1"/>
                </a:solidFill>
                <a:effectLst/>
              </a:defRPr>
            </a:lvl2pPr>
            <a:lvl3pPr>
              <a:defRPr sz="1200"/>
            </a:lvl3pPr>
            <a:lvl4pPr>
              <a:defRPr sz="1200"/>
            </a:lvl4pPr>
            <a:lvl5pPr>
              <a:defRPr sz="1200"/>
            </a:lvl5pPr>
          </a:lstStyle>
          <a:p>
            <a:pPr lvl="1"/>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6">
            <a:extLst>
              <a:ext uri="{FF2B5EF4-FFF2-40B4-BE49-F238E27FC236}">
                <a16:creationId xmlns:a16="http://schemas.microsoft.com/office/drawing/2014/main" id="{54BA102D-9DFA-B890-6AE5-6B55756F9D91}"/>
              </a:ext>
            </a:extLst>
          </p:cNvPr>
          <p:cNvSpPr>
            <a:spLocks noGrp="1"/>
          </p:cNvSpPr>
          <p:nvPr>
            <p:ph sz="quarter" idx="22"/>
          </p:nvPr>
        </p:nvSpPr>
        <p:spPr>
          <a:xfrm>
            <a:off x="8290990" y="1227871"/>
            <a:ext cx="3204954" cy="5090551"/>
          </a:xfrm>
        </p:spPr>
        <p:txBody>
          <a:bodyPr/>
          <a:lstStyle>
            <a:lvl1pPr marL="0" indent="0">
              <a:buNone/>
              <a:defRPr/>
            </a:lvl1pPr>
            <a:lvl2pPr algn="ctr">
              <a:defRPr sz="1600">
                <a:solidFill>
                  <a:schemeClr val="tx1"/>
                </a:solidFill>
                <a:effectLst/>
              </a:defRPr>
            </a:lvl2pPr>
            <a:lvl3pPr>
              <a:defRPr sz="1200"/>
            </a:lvl3pPr>
            <a:lvl4pPr>
              <a:defRPr sz="1200"/>
            </a:lvl4pPr>
            <a:lvl5pPr>
              <a:defRPr sz="1200"/>
            </a:lvl5pPr>
          </a:lstStyle>
          <a:p>
            <a:pPr lvl="1"/>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4">
            <a:extLst>
              <a:ext uri="{FF2B5EF4-FFF2-40B4-BE49-F238E27FC236}">
                <a16:creationId xmlns:a16="http://schemas.microsoft.com/office/drawing/2014/main" id="{06694860-AD3D-0D09-0EE1-294708347B29}"/>
              </a:ext>
            </a:extLst>
          </p:cNvPr>
          <p:cNvSpPr txBox="1"/>
          <p:nvPr userDrawn="1"/>
        </p:nvSpPr>
        <p:spPr>
          <a:xfrm>
            <a:off x="9818297" y="172023"/>
            <a:ext cx="1872051" cy="276999"/>
          </a:xfrm>
          <a:prstGeom prst="rect">
            <a:avLst/>
          </a:prstGeom>
          <a:noFill/>
          <a:ln w="28575">
            <a:noFill/>
          </a:ln>
        </p:spPr>
        <p:txBody>
          <a:bodyPr wrap="none" lIns="0" tIns="0" rIns="0" bIns="0" rtlCol="0">
            <a:spAutoFit/>
          </a:bodyPr>
          <a:lstStyle/>
          <a:p>
            <a:pPr marL="0" indent="0">
              <a:spcBef>
                <a:spcPts val="600"/>
              </a:spcBef>
              <a:buSzPct val="100000"/>
              <a:buFont typeface="Arial"/>
              <a:buNone/>
            </a:pPr>
            <a:r>
              <a:rPr lang="en-US" b="1" dirty="0">
                <a:solidFill>
                  <a:srgbClr val="FF0000"/>
                </a:solidFill>
              </a:rPr>
              <a:t>AI Generated Draft</a:t>
            </a:r>
          </a:p>
        </p:txBody>
      </p:sp>
    </p:spTree>
    <p:extLst>
      <p:ext uri="{BB962C8B-B14F-4D97-AF65-F5344CB8AC3E}">
        <p14:creationId xmlns:p14="http://schemas.microsoft.com/office/powerpoint/2010/main" val="1867200126"/>
      </p:ext>
    </p:extLst>
  </p:cSld>
  <p:clrMapOvr>
    <a:masterClrMapping/>
  </p:clrMapOvr>
  <p:transition>
    <p:fade/>
  </p:transition>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6_2 columns of text">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D58FF0B8-12F4-41CE-AD69-DD52D41C8BBD}"/>
              </a:ext>
            </a:extLst>
          </p:cNvPr>
          <p:cNvSpPr>
            <a:spLocks noGrp="1"/>
          </p:cNvSpPr>
          <p:nvPr>
            <p:ph type="body" sz="quarter" idx="13" hasCustomPrompt="1"/>
          </p:nvPr>
        </p:nvSpPr>
        <p:spPr>
          <a:xfrm>
            <a:off x="501650" y="651601"/>
            <a:ext cx="11188700" cy="334100"/>
          </a:xfrm>
          <a:prstGeom prst="rect">
            <a:avLst/>
          </a:prstGeom>
        </p:spPr>
        <p:txBody>
          <a:bodyPr lIns="0" tIns="0" rIns="0" bIns="0">
            <a:noAutofit/>
          </a:bodyPr>
          <a:lstStyle>
            <a:lvl1pPr marL="0" indent="0">
              <a:buNone/>
              <a:defRPr sz="1800" b="0">
                <a:solidFill>
                  <a:schemeClr val="tx2"/>
                </a:solidFill>
                <a:latin typeface="Aptos" panose="020B0004020202020204" pitchFamily="34" charset="0"/>
              </a:defRPr>
            </a:lvl1pPr>
          </a:lstStyle>
          <a:p>
            <a:pPr lvl="0"/>
            <a:r>
              <a:rPr lang="en-US" dirty="0"/>
              <a:t>Click to add subtitle</a:t>
            </a:r>
          </a:p>
        </p:txBody>
      </p:sp>
      <p:sp>
        <p:nvSpPr>
          <p:cNvPr id="9" name="Title Placeholder 1">
            <a:extLst>
              <a:ext uri="{FF2B5EF4-FFF2-40B4-BE49-F238E27FC236}">
                <a16:creationId xmlns:a16="http://schemas.microsoft.com/office/drawing/2014/main" id="{565F50C2-3A2B-43F6-97B9-A4F3EF05E45A}"/>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Aptos" panose="020B0004020202020204" pitchFamily="34" charset="0"/>
              </a:defRPr>
            </a:lvl1pPr>
          </a:lstStyle>
          <a:p>
            <a:r>
              <a:rPr lang="en-US" dirty="0"/>
              <a:t>Click to add title</a:t>
            </a:r>
          </a:p>
        </p:txBody>
      </p:sp>
      <p:graphicFrame>
        <p:nvGraphicFramePr>
          <p:cNvPr id="11" name="Chart Placeholder 19">
            <a:extLst>
              <a:ext uri="{FF2B5EF4-FFF2-40B4-BE49-F238E27FC236}">
                <a16:creationId xmlns:a16="http://schemas.microsoft.com/office/drawing/2014/main" id="{A2A83808-FFCD-9A69-728A-9228F2DB6650}"/>
              </a:ext>
            </a:extLst>
          </p:cNvPr>
          <p:cNvGraphicFramePr>
            <a:graphicFrameLocks/>
          </p:cNvGraphicFramePr>
          <p:nvPr userDrawn="1">
            <p:extLst>
              <p:ext uri="{D42A27DB-BD31-4B8C-83A1-F6EECF244321}">
                <p14:modId xmlns:p14="http://schemas.microsoft.com/office/powerpoint/2010/main" val="2474252842"/>
              </p:ext>
            </p:extLst>
          </p:nvPr>
        </p:nvGraphicFramePr>
        <p:xfrm>
          <a:off x="3062319" y="1023189"/>
          <a:ext cx="6190837" cy="6039009"/>
        </p:xfrm>
        <a:graphic>
          <a:graphicData uri="http://schemas.openxmlformats.org/drawingml/2006/chart">
            <c:chart xmlns:c="http://schemas.openxmlformats.org/drawingml/2006/chart" xmlns:r="http://schemas.openxmlformats.org/officeDocument/2006/relationships" r:id="rId2"/>
          </a:graphicData>
        </a:graphic>
      </p:graphicFrame>
      <p:sp>
        <p:nvSpPr>
          <p:cNvPr id="18" name="Oval 17">
            <a:extLst>
              <a:ext uri="{FF2B5EF4-FFF2-40B4-BE49-F238E27FC236}">
                <a16:creationId xmlns:a16="http://schemas.microsoft.com/office/drawing/2014/main" id="{C6F81685-C361-D364-C49D-663AFBFFD39D}"/>
              </a:ext>
            </a:extLst>
          </p:cNvPr>
          <p:cNvSpPr/>
          <p:nvPr userDrawn="1"/>
        </p:nvSpPr>
        <p:spPr bwMode="gray">
          <a:xfrm>
            <a:off x="5257972" y="2906681"/>
            <a:ext cx="1832178" cy="1771557"/>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19" name="Group 18">
            <a:extLst>
              <a:ext uri="{FF2B5EF4-FFF2-40B4-BE49-F238E27FC236}">
                <a16:creationId xmlns:a16="http://schemas.microsoft.com/office/drawing/2014/main" id="{4D02AD2D-7FC9-3D2B-0C2D-7BD1EBCD34C5}"/>
              </a:ext>
            </a:extLst>
          </p:cNvPr>
          <p:cNvGrpSpPr>
            <a:grpSpLocks noChangeAspect="1"/>
          </p:cNvGrpSpPr>
          <p:nvPr userDrawn="1"/>
        </p:nvGrpSpPr>
        <p:grpSpPr>
          <a:xfrm>
            <a:off x="6820773" y="2289420"/>
            <a:ext cx="458044" cy="442889"/>
            <a:chOff x="1430338" y="5858510"/>
            <a:chExt cx="522288" cy="522288"/>
          </a:xfrm>
          <a:solidFill>
            <a:schemeClr val="tx1"/>
          </a:solidFill>
        </p:grpSpPr>
        <p:sp>
          <p:nvSpPr>
            <p:cNvPr id="20" name="Freeform 91">
              <a:extLst>
                <a:ext uri="{FF2B5EF4-FFF2-40B4-BE49-F238E27FC236}">
                  <a16:creationId xmlns:a16="http://schemas.microsoft.com/office/drawing/2014/main" id="{1FAED5FF-1C45-8757-FF68-EC5947C6A17A}"/>
                </a:ext>
              </a:extLst>
            </p:cNvPr>
            <p:cNvSpPr>
              <a:spLocks noEditPoints="1"/>
            </p:cNvSpPr>
            <p:nvPr/>
          </p:nvSpPr>
          <p:spPr bwMode="auto">
            <a:xfrm>
              <a:off x="1430338" y="5858510"/>
              <a:ext cx="522288" cy="522288"/>
            </a:xfrm>
            <a:custGeom>
              <a:avLst/>
              <a:gdLst>
                <a:gd name="T0" fmla="*/ 312 w 657"/>
                <a:gd name="T1" fmla="*/ 657 h 657"/>
                <a:gd name="T2" fmla="*/ 262 w 657"/>
                <a:gd name="T3" fmla="*/ 651 h 657"/>
                <a:gd name="T4" fmla="*/ 200 w 657"/>
                <a:gd name="T5" fmla="*/ 632 h 657"/>
                <a:gd name="T6" fmla="*/ 119 w 657"/>
                <a:gd name="T7" fmla="*/ 582 h 657"/>
                <a:gd name="T8" fmla="*/ 56 w 657"/>
                <a:gd name="T9" fmla="*/ 512 h 657"/>
                <a:gd name="T10" fmla="*/ 15 w 657"/>
                <a:gd name="T11" fmla="*/ 426 h 657"/>
                <a:gd name="T12" fmla="*/ 4 w 657"/>
                <a:gd name="T13" fmla="*/ 379 h 657"/>
                <a:gd name="T14" fmla="*/ 0 w 657"/>
                <a:gd name="T15" fmla="*/ 329 h 657"/>
                <a:gd name="T16" fmla="*/ 1 w 657"/>
                <a:gd name="T17" fmla="*/ 296 h 657"/>
                <a:gd name="T18" fmla="*/ 9 w 657"/>
                <a:gd name="T19" fmla="*/ 247 h 657"/>
                <a:gd name="T20" fmla="*/ 39 w 657"/>
                <a:gd name="T21" fmla="*/ 172 h 657"/>
                <a:gd name="T22" fmla="*/ 95 w 657"/>
                <a:gd name="T23" fmla="*/ 97 h 657"/>
                <a:gd name="T24" fmla="*/ 172 w 657"/>
                <a:gd name="T25" fmla="*/ 39 h 657"/>
                <a:gd name="T26" fmla="*/ 246 w 657"/>
                <a:gd name="T27" fmla="*/ 11 h 657"/>
                <a:gd name="T28" fmla="*/ 294 w 657"/>
                <a:gd name="T29" fmla="*/ 1 h 657"/>
                <a:gd name="T30" fmla="*/ 328 w 657"/>
                <a:gd name="T31" fmla="*/ 0 h 657"/>
                <a:gd name="T32" fmla="*/ 379 w 657"/>
                <a:gd name="T33" fmla="*/ 4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7 h 657"/>
                <a:gd name="T52" fmla="*/ 582 w 657"/>
                <a:gd name="T53" fmla="*/ 538 h 657"/>
                <a:gd name="T54" fmla="*/ 512 w 657"/>
                <a:gd name="T55" fmla="*/ 602 h 657"/>
                <a:gd name="T56" fmla="*/ 426 w 657"/>
                <a:gd name="T57" fmla="*/ 643 h 657"/>
                <a:gd name="T58" fmla="*/ 379 w 657"/>
                <a:gd name="T59" fmla="*/ 655 h 657"/>
                <a:gd name="T60" fmla="*/ 328 w 657"/>
                <a:gd name="T61" fmla="*/ 657 h 657"/>
                <a:gd name="T62" fmla="*/ 328 w 657"/>
                <a:gd name="T63" fmla="*/ 38 h 657"/>
                <a:gd name="T64" fmla="*/ 242 w 657"/>
                <a:gd name="T65" fmla="*/ 51 h 657"/>
                <a:gd name="T66" fmla="*/ 165 w 657"/>
                <a:gd name="T67" fmla="*/ 87 h 657"/>
                <a:gd name="T68" fmla="*/ 103 w 657"/>
                <a:gd name="T69" fmla="*/ 144 h 657"/>
                <a:gd name="T70" fmla="*/ 60 w 657"/>
                <a:gd name="T71" fmla="*/ 215 h 657"/>
                <a:gd name="T72" fmla="*/ 39 w 657"/>
                <a:gd name="T73" fmla="*/ 300 h 657"/>
                <a:gd name="T74" fmla="*/ 39 w 657"/>
                <a:gd name="T75" fmla="*/ 359 h 657"/>
                <a:gd name="T76" fmla="*/ 60 w 657"/>
                <a:gd name="T77" fmla="*/ 442 h 657"/>
                <a:gd name="T78" fmla="*/ 103 w 657"/>
                <a:gd name="T79" fmla="*/ 513 h 657"/>
                <a:gd name="T80" fmla="*/ 165 w 657"/>
                <a:gd name="T81" fmla="*/ 570 h 657"/>
                <a:gd name="T82" fmla="*/ 242 w 657"/>
                <a:gd name="T83" fmla="*/ 608 h 657"/>
                <a:gd name="T84" fmla="*/ 328 w 657"/>
                <a:gd name="T85" fmla="*/ 620 h 657"/>
                <a:gd name="T86" fmla="*/ 387 w 657"/>
                <a:gd name="T87" fmla="*/ 614 h 657"/>
                <a:gd name="T88" fmla="*/ 467 w 657"/>
                <a:gd name="T89" fmla="*/ 585 h 657"/>
                <a:gd name="T90" fmla="*/ 535 w 657"/>
                <a:gd name="T91" fmla="*/ 535 h 657"/>
                <a:gd name="T92" fmla="*/ 584 w 657"/>
                <a:gd name="T93" fmla="*/ 468 h 657"/>
                <a:gd name="T94" fmla="*/ 614 w 657"/>
                <a:gd name="T95" fmla="*/ 387 h 657"/>
                <a:gd name="T96" fmla="*/ 619 w 657"/>
                <a:gd name="T97" fmla="*/ 329 h 657"/>
                <a:gd name="T98" fmla="*/ 606 w 657"/>
                <a:gd name="T99" fmla="*/ 242 h 657"/>
                <a:gd name="T100" fmla="*/ 570 w 657"/>
                <a:gd name="T101" fmla="*/ 167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4" y="656"/>
                  </a:lnTo>
                  <a:lnTo>
                    <a:pt x="278" y="655"/>
                  </a:lnTo>
                  <a:lnTo>
                    <a:pt x="262" y="651"/>
                  </a:lnTo>
                  <a:lnTo>
                    <a:pt x="246" y="648"/>
                  </a:lnTo>
                  <a:lnTo>
                    <a:pt x="231" y="643"/>
                  </a:lnTo>
                  <a:lnTo>
                    <a:pt x="200" y="632"/>
                  </a:lnTo>
                  <a:lnTo>
                    <a:pt x="172" y="618"/>
                  </a:lnTo>
                  <a:lnTo>
                    <a:pt x="145" y="602"/>
                  </a:lnTo>
                  <a:lnTo>
                    <a:pt x="119" y="582"/>
                  </a:lnTo>
                  <a:lnTo>
                    <a:pt x="95" y="562"/>
                  </a:lnTo>
                  <a:lnTo>
                    <a:pt x="75" y="538"/>
                  </a:lnTo>
                  <a:lnTo>
                    <a:pt x="56" y="512"/>
                  </a:lnTo>
                  <a:lnTo>
                    <a:pt x="39" y="485"/>
                  </a:lnTo>
                  <a:lnTo>
                    <a:pt x="25" y="457"/>
                  </a:lnTo>
                  <a:lnTo>
                    <a:pt x="15" y="426"/>
                  </a:lnTo>
                  <a:lnTo>
                    <a:pt x="9" y="411"/>
                  </a:lnTo>
                  <a:lnTo>
                    <a:pt x="6" y="395"/>
                  </a:lnTo>
                  <a:lnTo>
                    <a:pt x="4" y="379"/>
                  </a:lnTo>
                  <a:lnTo>
                    <a:pt x="1" y="363"/>
                  </a:lnTo>
                  <a:lnTo>
                    <a:pt x="0" y="345"/>
                  </a:lnTo>
                  <a:lnTo>
                    <a:pt x="0" y="329"/>
                  </a:lnTo>
                  <a:lnTo>
                    <a:pt x="0" y="329"/>
                  </a:lnTo>
                  <a:lnTo>
                    <a:pt x="0" y="312"/>
                  </a:lnTo>
                  <a:lnTo>
                    <a:pt x="1" y="296"/>
                  </a:lnTo>
                  <a:lnTo>
                    <a:pt x="4" y="278"/>
                  </a:lnTo>
                  <a:lnTo>
                    <a:pt x="6" y="262"/>
                  </a:lnTo>
                  <a:lnTo>
                    <a:pt x="9" y="247"/>
                  </a:lnTo>
                  <a:lnTo>
                    <a:pt x="15" y="231"/>
                  </a:lnTo>
                  <a:lnTo>
                    <a:pt x="25" y="200"/>
                  </a:lnTo>
                  <a:lnTo>
                    <a:pt x="39" y="172"/>
                  </a:lnTo>
                  <a:lnTo>
                    <a:pt x="56" y="145"/>
                  </a:lnTo>
                  <a:lnTo>
                    <a:pt x="75" y="120"/>
                  </a:lnTo>
                  <a:lnTo>
                    <a:pt x="95" y="97"/>
                  </a:lnTo>
                  <a:lnTo>
                    <a:pt x="119" y="75"/>
                  </a:lnTo>
                  <a:lnTo>
                    <a:pt x="145" y="57"/>
                  </a:lnTo>
                  <a:lnTo>
                    <a:pt x="172" y="39"/>
                  </a:lnTo>
                  <a:lnTo>
                    <a:pt x="200" y="26"/>
                  </a:lnTo>
                  <a:lnTo>
                    <a:pt x="231" y="15"/>
                  </a:lnTo>
                  <a:lnTo>
                    <a:pt x="246" y="11"/>
                  </a:lnTo>
                  <a:lnTo>
                    <a:pt x="262" y="7"/>
                  </a:lnTo>
                  <a:lnTo>
                    <a:pt x="278" y="4"/>
                  </a:lnTo>
                  <a:lnTo>
                    <a:pt x="294" y="1"/>
                  </a:lnTo>
                  <a:lnTo>
                    <a:pt x="312" y="0"/>
                  </a:lnTo>
                  <a:lnTo>
                    <a:pt x="328" y="0"/>
                  </a:lnTo>
                  <a:lnTo>
                    <a:pt x="328" y="0"/>
                  </a:lnTo>
                  <a:lnTo>
                    <a:pt x="345" y="0"/>
                  </a:lnTo>
                  <a:lnTo>
                    <a:pt x="361" y="1"/>
                  </a:lnTo>
                  <a:lnTo>
                    <a:pt x="379" y="4"/>
                  </a:lnTo>
                  <a:lnTo>
                    <a:pt x="395" y="7"/>
                  </a:lnTo>
                  <a:lnTo>
                    <a:pt x="411" y="11"/>
                  </a:lnTo>
                  <a:lnTo>
                    <a:pt x="426" y="15"/>
                  </a:lnTo>
                  <a:lnTo>
                    <a:pt x="457" y="26"/>
                  </a:lnTo>
                  <a:lnTo>
                    <a:pt x="485" y="39"/>
                  </a:lnTo>
                  <a:lnTo>
                    <a:pt x="512" y="57"/>
                  </a:lnTo>
                  <a:lnTo>
                    <a:pt x="537" y="75"/>
                  </a:lnTo>
                  <a:lnTo>
                    <a:pt x="560" y="97"/>
                  </a:lnTo>
                  <a:lnTo>
                    <a:pt x="582" y="120"/>
                  </a:lnTo>
                  <a:lnTo>
                    <a:pt x="601" y="145"/>
                  </a:lnTo>
                  <a:lnTo>
                    <a:pt x="618" y="172"/>
                  </a:lnTo>
                  <a:lnTo>
                    <a:pt x="631" y="200"/>
                  </a:lnTo>
                  <a:lnTo>
                    <a:pt x="642" y="231"/>
                  </a:lnTo>
                  <a:lnTo>
                    <a:pt x="648" y="247"/>
                  </a:lnTo>
                  <a:lnTo>
                    <a:pt x="650" y="262"/>
                  </a:lnTo>
                  <a:lnTo>
                    <a:pt x="653" y="278"/>
                  </a:lnTo>
                  <a:lnTo>
                    <a:pt x="656" y="296"/>
                  </a:lnTo>
                  <a:lnTo>
                    <a:pt x="657" y="312"/>
                  </a:lnTo>
                  <a:lnTo>
                    <a:pt x="657" y="329"/>
                  </a:lnTo>
                  <a:lnTo>
                    <a:pt x="657" y="329"/>
                  </a:lnTo>
                  <a:lnTo>
                    <a:pt x="657" y="345"/>
                  </a:lnTo>
                  <a:lnTo>
                    <a:pt x="656" y="363"/>
                  </a:lnTo>
                  <a:lnTo>
                    <a:pt x="653" y="379"/>
                  </a:lnTo>
                  <a:lnTo>
                    <a:pt x="650" y="395"/>
                  </a:lnTo>
                  <a:lnTo>
                    <a:pt x="648" y="411"/>
                  </a:lnTo>
                  <a:lnTo>
                    <a:pt x="642" y="426"/>
                  </a:lnTo>
                  <a:lnTo>
                    <a:pt x="631" y="457"/>
                  </a:lnTo>
                  <a:lnTo>
                    <a:pt x="618" y="485"/>
                  </a:lnTo>
                  <a:lnTo>
                    <a:pt x="601" y="512"/>
                  </a:lnTo>
                  <a:lnTo>
                    <a:pt x="582" y="538"/>
                  </a:lnTo>
                  <a:lnTo>
                    <a:pt x="560" y="562"/>
                  </a:lnTo>
                  <a:lnTo>
                    <a:pt x="537" y="582"/>
                  </a:lnTo>
                  <a:lnTo>
                    <a:pt x="512" y="602"/>
                  </a:lnTo>
                  <a:lnTo>
                    <a:pt x="485" y="618"/>
                  </a:lnTo>
                  <a:lnTo>
                    <a:pt x="457" y="632"/>
                  </a:lnTo>
                  <a:lnTo>
                    <a:pt x="426" y="643"/>
                  </a:lnTo>
                  <a:lnTo>
                    <a:pt x="411" y="648"/>
                  </a:lnTo>
                  <a:lnTo>
                    <a:pt x="395" y="651"/>
                  </a:lnTo>
                  <a:lnTo>
                    <a:pt x="379" y="655"/>
                  </a:lnTo>
                  <a:lnTo>
                    <a:pt x="361" y="656"/>
                  </a:lnTo>
                  <a:lnTo>
                    <a:pt x="345" y="657"/>
                  </a:lnTo>
                  <a:lnTo>
                    <a:pt x="328" y="657"/>
                  </a:lnTo>
                  <a:lnTo>
                    <a:pt x="328" y="657"/>
                  </a:lnTo>
                  <a:close/>
                  <a:moveTo>
                    <a:pt x="328" y="38"/>
                  </a:moveTo>
                  <a:lnTo>
                    <a:pt x="328" y="38"/>
                  </a:lnTo>
                  <a:lnTo>
                    <a:pt x="298" y="39"/>
                  </a:lnTo>
                  <a:lnTo>
                    <a:pt x="270" y="43"/>
                  </a:lnTo>
                  <a:lnTo>
                    <a:pt x="242" y="51"/>
                  </a:lnTo>
                  <a:lnTo>
                    <a:pt x="215" y="61"/>
                  </a:lnTo>
                  <a:lnTo>
                    <a:pt x="189" y="73"/>
                  </a:lnTo>
                  <a:lnTo>
                    <a:pt x="165" y="87"/>
                  </a:lnTo>
                  <a:lnTo>
                    <a:pt x="144" y="104"/>
                  </a:lnTo>
                  <a:lnTo>
                    <a:pt x="122" y="122"/>
                  </a:lnTo>
                  <a:lnTo>
                    <a:pt x="103" y="144"/>
                  </a:lnTo>
                  <a:lnTo>
                    <a:pt x="87" y="167"/>
                  </a:lnTo>
                  <a:lnTo>
                    <a:pt x="72" y="190"/>
                  </a:lnTo>
                  <a:lnTo>
                    <a:pt x="60" y="215"/>
                  </a:lnTo>
                  <a:lnTo>
                    <a:pt x="49" y="242"/>
                  </a:lnTo>
                  <a:lnTo>
                    <a:pt x="43" y="270"/>
                  </a:lnTo>
                  <a:lnTo>
                    <a:pt x="39" y="300"/>
                  </a:lnTo>
                  <a:lnTo>
                    <a:pt x="37" y="329"/>
                  </a:lnTo>
                  <a:lnTo>
                    <a:pt x="37" y="329"/>
                  </a:lnTo>
                  <a:lnTo>
                    <a:pt x="39" y="359"/>
                  </a:lnTo>
                  <a:lnTo>
                    <a:pt x="43" y="387"/>
                  </a:lnTo>
                  <a:lnTo>
                    <a:pt x="49" y="415"/>
                  </a:lnTo>
                  <a:lnTo>
                    <a:pt x="60" y="442"/>
                  </a:lnTo>
                  <a:lnTo>
                    <a:pt x="72" y="468"/>
                  </a:lnTo>
                  <a:lnTo>
                    <a:pt x="87" y="492"/>
                  </a:lnTo>
                  <a:lnTo>
                    <a:pt x="103" y="513"/>
                  </a:lnTo>
                  <a:lnTo>
                    <a:pt x="122" y="535"/>
                  </a:lnTo>
                  <a:lnTo>
                    <a:pt x="144" y="554"/>
                  </a:lnTo>
                  <a:lnTo>
                    <a:pt x="165" y="570"/>
                  </a:lnTo>
                  <a:lnTo>
                    <a:pt x="189" y="585"/>
                  </a:lnTo>
                  <a:lnTo>
                    <a:pt x="215" y="597"/>
                  </a:lnTo>
                  <a:lnTo>
                    <a:pt x="242" y="608"/>
                  </a:lnTo>
                  <a:lnTo>
                    <a:pt x="270" y="614"/>
                  </a:lnTo>
                  <a:lnTo>
                    <a:pt x="298" y="618"/>
                  </a:lnTo>
                  <a:lnTo>
                    <a:pt x="328" y="620"/>
                  </a:lnTo>
                  <a:lnTo>
                    <a:pt x="328" y="620"/>
                  </a:lnTo>
                  <a:lnTo>
                    <a:pt x="359" y="618"/>
                  </a:lnTo>
                  <a:lnTo>
                    <a:pt x="387" y="614"/>
                  </a:lnTo>
                  <a:lnTo>
                    <a:pt x="415" y="608"/>
                  </a:lnTo>
                  <a:lnTo>
                    <a:pt x="442" y="597"/>
                  </a:lnTo>
                  <a:lnTo>
                    <a:pt x="467" y="585"/>
                  </a:lnTo>
                  <a:lnTo>
                    <a:pt x="492" y="570"/>
                  </a:lnTo>
                  <a:lnTo>
                    <a:pt x="513" y="554"/>
                  </a:lnTo>
                  <a:lnTo>
                    <a:pt x="535" y="535"/>
                  </a:lnTo>
                  <a:lnTo>
                    <a:pt x="553" y="513"/>
                  </a:lnTo>
                  <a:lnTo>
                    <a:pt x="570" y="492"/>
                  </a:lnTo>
                  <a:lnTo>
                    <a:pt x="584" y="468"/>
                  </a:lnTo>
                  <a:lnTo>
                    <a:pt x="596" y="442"/>
                  </a:lnTo>
                  <a:lnTo>
                    <a:pt x="606" y="415"/>
                  </a:lnTo>
                  <a:lnTo>
                    <a:pt x="614" y="387"/>
                  </a:lnTo>
                  <a:lnTo>
                    <a:pt x="618" y="359"/>
                  </a:lnTo>
                  <a:lnTo>
                    <a:pt x="619" y="329"/>
                  </a:lnTo>
                  <a:lnTo>
                    <a:pt x="619" y="329"/>
                  </a:lnTo>
                  <a:lnTo>
                    <a:pt x="618" y="300"/>
                  </a:lnTo>
                  <a:lnTo>
                    <a:pt x="614" y="270"/>
                  </a:lnTo>
                  <a:lnTo>
                    <a:pt x="606" y="242"/>
                  </a:lnTo>
                  <a:lnTo>
                    <a:pt x="596" y="215"/>
                  </a:lnTo>
                  <a:lnTo>
                    <a:pt x="584" y="190"/>
                  </a:lnTo>
                  <a:lnTo>
                    <a:pt x="570" y="167"/>
                  </a:lnTo>
                  <a:lnTo>
                    <a:pt x="553" y="144"/>
                  </a:lnTo>
                  <a:lnTo>
                    <a:pt x="535" y="122"/>
                  </a:lnTo>
                  <a:lnTo>
                    <a:pt x="513" y="104"/>
                  </a:lnTo>
                  <a:lnTo>
                    <a:pt x="492" y="87"/>
                  </a:lnTo>
                  <a:lnTo>
                    <a:pt x="467" y="73"/>
                  </a:lnTo>
                  <a:lnTo>
                    <a:pt x="442" y="61"/>
                  </a:lnTo>
                  <a:lnTo>
                    <a:pt x="415" y="51"/>
                  </a:lnTo>
                  <a:lnTo>
                    <a:pt x="387" y="43"/>
                  </a:lnTo>
                  <a:lnTo>
                    <a:pt x="359" y="39"/>
                  </a:lnTo>
                  <a:lnTo>
                    <a:pt x="328" y="38"/>
                  </a:lnTo>
                  <a:lnTo>
                    <a:pt x="328" y="3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1" name="Freeform 300">
              <a:extLst>
                <a:ext uri="{FF2B5EF4-FFF2-40B4-BE49-F238E27FC236}">
                  <a16:creationId xmlns:a16="http://schemas.microsoft.com/office/drawing/2014/main" id="{D2168C57-05E8-9FCB-FDB2-838532F6C783}"/>
                </a:ext>
              </a:extLst>
            </p:cNvPr>
            <p:cNvSpPr>
              <a:spLocks/>
            </p:cNvSpPr>
            <p:nvPr/>
          </p:nvSpPr>
          <p:spPr bwMode="auto">
            <a:xfrm>
              <a:off x="1638301" y="6013728"/>
              <a:ext cx="182563" cy="17463"/>
            </a:xfrm>
            <a:custGeom>
              <a:avLst/>
              <a:gdLst>
                <a:gd name="T0" fmla="*/ 223 w 228"/>
                <a:gd name="T1" fmla="*/ 22 h 22"/>
                <a:gd name="T2" fmla="*/ 5 w 228"/>
                <a:gd name="T3" fmla="*/ 22 h 22"/>
                <a:gd name="T4" fmla="*/ 5 w 228"/>
                <a:gd name="T5" fmla="*/ 22 h 22"/>
                <a:gd name="T6" fmla="*/ 4 w 228"/>
                <a:gd name="T7" fmla="*/ 22 h 22"/>
                <a:gd name="T8" fmla="*/ 1 w 228"/>
                <a:gd name="T9" fmla="*/ 21 h 22"/>
                <a:gd name="T10" fmla="*/ 0 w 228"/>
                <a:gd name="T11" fmla="*/ 19 h 22"/>
                <a:gd name="T12" fmla="*/ 0 w 228"/>
                <a:gd name="T13" fmla="*/ 17 h 22"/>
                <a:gd name="T14" fmla="*/ 0 w 228"/>
                <a:gd name="T15" fmla="*/ 6 h 22"/>
                <a:gd name="T16" fmla="*/ 0 w 228"/>
                <a:gd name="T17" fmla="*/ 6 h 22"/>
                <a:gd name="T18" fmla="*/ 0 w 228"/>
                <a:gd name="T19" fmla="*/ 4 h 22"/>
                <a:gd name="T20" fmla="*/ 1 w 228"/>
                <a:gd name="T21" fmla="*/ 2 h 22"/>
                <a:gd name="T22" fmla="*/ 4 w 228"/>
                <a:gd name="T23" fmla="*/ 2 h 22"/>
                <a:gd name="T24" fmla="*/ 5 w 228"/>
                <a:gd name="T25" fmla="*/ 0 h 22"/>
                <a:gd name="T26" fmla="*/ 223 w 228"/>
                <a:gd name="T27" fmla="*/ 0 h 22"/>
                <a:gd name="T28" fmla="*/ 223 w 228"/>
                <a:gd name="T29" fmla="*/ 0 h 22"/>
                <a:gd name="T30" fmla="*/ 226 w 228"/>
                <a:gd name="T31" fmla="*/ 2 h 22"/>
                <a:gd name="T32" fmla="*/ 227 w 228"/>
                <a:gd name="T33" fmla="*/ 2 h 22"/>
                <a:gd name="T34" fmla="*/ 228 w 228"/>
                <a:gd name="T35" fmla="*/ 4 h 22"/>
                <a:gd name="T36" fmla="*/ 228 w 228"/>
                <a:gd name="T37" fmla="*/ 6 h 22"/>
                <a:gd name="T38" fmla="*/ 228 w 228"/>
                <a:gd name="T39" fmla="*/ 17 h 22"/>
                <a:gd name="T40" fmla="*/ 228 w 228"/>
                <a:gd name="T41" fmla="*/ 17 h 22"/>
                <a:gd name="T42" fmla="*/ 228 w 228"/>
                <a:gd name="T43" fmla="*/ 19 h 22"/>
                <a:gd name="T44" fmla="*/ 227 w 228"/>
                <a:gd name="T45" fmla="*/ 21 h 22"/>
                <a:gd name="T46" fmla="*/ 226 w 228"/>
                <a:gd name="T47" fmla="*/ 22 h 22"/>
                <a:gd name="T48" fmla="*/ 223 w 228"/>
                <a:gd name="T49" fmla="*/ 22 h 22"/>
                <a:gd name="T50" fmla="*/ 223 w 228"/>
                <a:gd name="T5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8" h="22">
                  <a:moveTo>
                    <a:pt x="223" y="22"/>
                  </a:moveTo>
                  <a:lnTo>
                    <a:pt x="5" y="22"/>
                  </a:lnTo>
                  <a:lnTo>
                    <a:pt x="5" y="22"/>
                  </a:lnTo>
                  <a:lnTo>
                    <a:pt x="4" y="22"/>
                  </a:lnTo>
                  <a:lnTo>
                    <a:pt x="1" y="21"/>
                  </a:lnTo>
                  <a:lnTo>
                    <a:pt x="0" y="19"/>
                  </a:lnTo>
                  <a:lnTo>
                    <a:pt x="0" y="17"/>
                  </a:lnTo>
                  <a:lnTo>
                    <a:pt x="0" y="6"/>
                  </a:lnTo>
                  <a:lnTo>
                    <a:pt x="0" y="6"/>
                  </a:lnTo>
                  <a:lnTo>
                    <a:pt x="0" y="4"/>
                  </a:lnTo>
                  <a:lnTo>
                    <a:pt x="1" y="2"/>
                  </a:lnTo>
                  <a:lnTo>
                    <a:pt x="4" y="2"/>
                  </a:lnTo>
                  <a:lnTo>
                    <a:pt x="5" y="0"/>
                  </a:lnTo>
                  <a:lnTo>
                    <a:pt x="223" y="0"/>
                  </a:lnTo>
                  <a:lnTo>
                    <a:pt x="223" y="0"/>
                  </a:lnTo>
                  <a:lnTo>
                    <a:pt x="226" y="2"/>
                  </a:lnTo>
                  <a:lnTo>
                    <a:pt x="227" y="2"/>
                  </a:lnTo>
                  <a:lnTo>
                    <a:pt x="228" y="4"/>
                  </a:lnTo>
                  <a:lnTo>
                    <a:pt x="228" y="6"/>
                  </a:lnTo>
                  <a:lnTo>
                    <a:pt x="228" y="17"/>
                  </a:lnTo>
                  <a:lnTo>
                    <a:pt x="228" y="17"/>
                  </a:lnTo>
                  <a:lnTo>
                    <a:pt x="228" y="19"/>
                  </a:lnTo>
                  <a:lnTo>
                    <a:pt x="227" y="21"/>
                  </a:lnTo>
                  <a:lnTo>
                    <a:pt x="226" y="22"/>
                  </a:lnTo>
                  <a:lnTo>
                    <a:pt x="223" y="22"/>
                  </a:lnTo>
                  <a:lnTo>
                    <a:pt x="223" y="2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2" name="Freeform 301">
              <a:extLst>
                <a:ext uri="{FF2B5EF4-FFF2-40B4-BE49-F238E27FC236}">
                  <a16:creationId xmlns:a16="http://schemas.microsoft.com/office/drawing/2014/main" id="{35A2D49F-DDD5-148E-149A-2864D12B8D2C}"/>
                </a:ext>
              </a:extLst>
            </p:cNvPr>
            <p:cNvSpPr>
              <a:spLocks/>
            </p:cNvSpPr>
            <p:nvPr/>
          </p:nvSpPr>
          <p:spPr bwMode="auto">
            <a:xfrm>
              <a:off x="1638301" y="6101042"/>
              <a:ext cx="182563" cy="15875"/>
            </a:xfrm>
            <a:custGeom>
              <a:avLst/>
              <a:gdLst>
                <a:gd name="T0" fmla="*/ 223 w 228"/>
                <a:gd name="T1" fmla="*/ 22 h 22"/>
                <a:gd name="T2" fmla="*/ 5 w 228"/>
                <a:gd name="T3" fmla="*/ 22 h 22"/>
                <a:gd name="T4" fmla="*/ 5 w 228"/>
                <a:gd name="T5" fmla="*/ 22 h 22"/>
                <a:gd name="T6" fmla="*/ 4 w 228"/>
                <a:gd name="T7" fmla="*/ 22 h 22"/>
                <a:gd name="T8" fmla="*/ 1 w 228"/>
                <a:gd name="T9" fmla="*/ 20 h 22"/>
                <a:gd name="T10" fmla="*/ 0 w 228"/>
                <a:gd name="T11" fmla="*/ 19 h 22"/>
                <a:gd name="T12" fmla="*/ 0 w 228"/>
                <a:gd name="T13" fmla="*/ 16 h 22"/>
                <a:gd name="T14" fmla="*/ 0 w 228"/>
                <a:gd name="T15" fmla="*/ 6 h 22"/>
                <a:gd name="T16" fmla="*/ 0 w 228"/>
                <a:gd name="T17" fmla="*/ 6 h 22"/>
                <a:gd name="T18" fmla="*/ 0 w 228"/>
                <a:gd name="T19" fmla="*/ 4 h 22"/>
                <a:gd name="T20" fmla="*/ 1 w 228"/>
                <a:gd name="T21" fmla="*/ 2 h 22"/>
                <a:gd name="T22" fmla="*/ 4 w 228"/>
                <a:gd name="T23" fmla="*/ 0 h 22"/>
                <a:gd name="T24" fmla="*/ 5 w 228"/>
                <a:gd name="T25" fmla="*/ 0 h 22"/>
                <a:gd name="T26" fmla="*/ 223 w 228"/>
                <a:gd name="T27" fmla="*/ 0 h 22"/>
                <a:gd name="T28" fmla="*/ 223 w 228"/>
                <a:gd name="T29" fmla="*/ 0 h 22"/>
                <a:gd name="T30" fmla="*/ 226 w 228"/>
                <a:gd name="T31" fmla="*/ 0 h 22"/>
                <a:gd name="T32" fmla="*/ 227 w 228"/>
                <a:gd name="T33" fmla="*/ 2 h 22"/>
                <a:gd name="T34" fmla="*/ 228 w 228"/>
                <a:gd name="T35" fmla="*/ 4 h 22"/>
                <a:gd name="T36" fmla="*/ 228 w 228"/>
                <a:gd name="T37" fmla="*/ 6 h 22"/>
                <a:gd name="T38" fmla="*/ 228 w 228"/>
                <a:gd name="T39" fmla="*/ 16 h 22"/>
                <a:gd name="T40" fmla="*/ 228 w 228"/>
                <a:gd name="T41" fmla="*/ 16 h 22"/>
                <a:gd name="T42" fmla="*/ 228 w 228"/>
                <a:gd name="T43" fmla="*/ 19 h 22"/>
                <a:gd name="T44" fmla="*/ 227 w 228"/>
                <a:gd name="T45" fmla="*/ 20 h 22"/>
                <a:gd name="T46" fmla="*/ 226 w 228"/>
                <a:gd name="T47" fmla="*/ 22 h 22"/>
                <a:gd name="T48" fmla="*/ 223 w 228"/>
                <a:gd name="T49" fmla="*/ 22 h 22"/>
                <a:gd name="T50" fmla="*/ 223 w 228"/>
                <a:gd name="T5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8" h="22">
                  <a:moveTo>
                    <a:pt x="223" y="22"/>
                  </a:moveTo>
                  <a:lnTo>
                    <a:pt x="5" y="22"/>
                  </a:lnTo>
                  <a:lnTo>
                    <a:pt x="5" y="22"/>
                  </a:lnTo>
                  <a:lnTo>
                    <a:pt x="4" y="22"/>
                  </a:lnTo>
                  <a:lnTo>
                    <a:pt x="1" y="20"/>
                  </a:lnTo>
                  <a:lnTo>
                    <a:pt x="0" y="19"/>
                  </a:lnTo>
                  <a:lnTo>
                    <a:pt x="0" y="16"/>
                  </a:lnTo>
                  <a:lnTo>
                    <a:pt x="0" y="6"/>
                  </a:lnTo>
                  <a:lnTo>
                    <a:pt x="0" y="6"/>
                  </a:lnTo>
                  <a:lnTo>
                    <a:pt x="0" y="4"/>
                  </a:lnTo>
                  <a:lnTo>
                    <a:pt x="1" y="2"/>
                  </a:lnTo>
                  <a:lnTo>
                    <a:pt x="4" y="0"/>
                  </a:lnTo>
                  <a:lnTo>
                    <a:pt x="5" y="0"/>
                  </a:lnTo>
                  <a:lnTo>
                    <a:pt x="223" y="0"/>
                  </a:lnTo>
                  <a:lnTo>
                    <a:pt x="223" y="0"/>
                  </a:lnTo>
                  <a:lnTo>
                    <a:pt x="226" y="0"/>
                  </a:lnTo>
                  <a:lnTo>
                    <a:pt x="227" y="2"/>
                  </a:lnTo>
                  <a:lnTo>
                    <a:pt x="228" y="4"/>
                  </a:lnTo>
                  <a:lnTo>
                    <a:pt x="228" y="6"/>
                  </a:lnTo>
                  <a:lnTo>
                    <a:pt x="228" y="16"/>
                  </a:lnTo>
                  <a:lnTo>
                    <a:pt x="228" y="16"/>
                  </a:lnTo>
                  <a:lnTo>
                    <a:pt x="228" y="19"/>
                  </a:lnTo>
                  <a:lnTo>
                    <a:pt x="227" y="20"/>
                  </a:lnTo>
                  <a:lnTo>
                    <a:pt x="226" y="22"/>
                  </a:lnTo>
                  <a:lnTo>
                    <a:pt x="223" y="22"/>
                  </a:lnTo>
                  <a:lnTo>
                    <a:pt x="223" y="2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3" name="Freeform 302">
              <a:extLst>
                <a:ext uri="{FF2B5EF4-FFF2-40B4-BE49-F238E27FC236}">
                  <a16:creationId xmlns:a16="http://schemas.microsoft.com/office/drawing/2014/main" id="{DDC798FD-FAC0-38B8-6BC1-AAC00F7F1867}"/>
                </a:ext>
              </a:extLst>
            </p:cNvPr>
            <p:cNvSpPr>
              <a:spLocks/>
            </p:cNvSpPr>
            <p:nvPr/>
          </p:nvSpPr>
          <p:spPr bwMode="auto">
            <a:xfrm>
              <a:off x="1638301" y="6186766"/>
              <a:ext cx="182563" cy="17463"/>
            </a:xfrm>
            <a:custGeom>
              <a:avLst/>
              <a:gdLst>
                <a:gd name="T0" fmla="*/ 223 w 228"/>
                <a:gd name="T1" fmla="*/ 22 h 22"/>
                <a:gd name="T2" fmla="*/ 5 w 228"/>
                <a:gd name="T3" fmla="*/ 22 h 22"/>
                <a:gd name="T4" fmla="*/ 5 w 228"/>
                <a:gd name="T5" fmla="*/ 22 h 22"/>
                <a:gd name="T6" fmla="*/ 4 w 228"/>
                <a:gd name="T7" fmla="*/ 22 h 22"/>
                <a:gd name="T8" fmla="*/ 1 w 228"/>
                <a:gd name="T9" fmla="*/ 20 h 22"/>
                <a:gd name="T10" fmla="*/ 0 w 228"/>
                <a:gd name="T11" fmla="*/ 19 h 22"/>
                <a:gd name="T12" fmla="*/ 0 w 228"/>
                <a:gd name="T13" fmla="*/ 16 h 22"/>
                <a:gd name="T14" fmla="*/ 0 w 228"/>
                <a:gd name="T15" fmla="*/ 6 h 22"/>
                <a:gd name="T16" fmla="*/ 0 w 228"/>
                <a:gd name="T17" fmla="*/ 6 h 22"/>
                <a:gd name="T18" fmla="*/ 0 w 228"/>
                <a:gd name="T19" fmla="*/ 4 h 22"/>
                <a:gd name="T20" fmla="*/ 1 w 228"/>
                <a:gd name="T21" fmla="*/ 1 h 22"/>
                <a:gd name="T22" fmla="*/ 4 w 228"/>
                <a:gd name="T23" fmla="*/ 0 h 22"/>
                <a:gd name="T24" fmla="*/ 5 w 228"/>
                <a:gd name="T25" fmla="*/ 0 h 22"/>
                <a:gd name="T26" fmla="*/ 223 w 228"/>
                <a:gd name="T27" fmla="*/ 0 h 22"/>
                <a:gd name="T28" fmla="*/ 223 w 228"/>
                <a:gd name="T29" fmla="*/ 0 h 22"/>
                <a:gd name="T30" fmla="*/ 226 w 228"/>
                <a:gd name="T31" fmla="*/ 0 h 22"/>
                <a:gd name="T32" fmla="*/ 227 w 228"/>
                <a:gd name="T33" fmla="*/ 1 h 22"/>
                <a:gd name="T34" fmla="*/ 228 w 228"/>
                <a:gd name="T35" fmla="*/ 4 h 22"/>
                <a:gd name="T36" fmla="*/ 228 w 228"/>
                <a:gd name="T37" fmla="*/ 6 h 22"/>
                <a:gd name="T38" fmla="*/ 228 w 228"/>
                <a:gd name="T39" fmla="*/ 16 h 22"/>
                <a:gd name="T40" fmla="*/ 228 w 228"/>
                <a:gd name="T41" fmla="*/ 16 h 22"/>
                <a:gd name="T42" fmla="*/ 228 w 228"/>
                <a:gd name="T43" fmla="*/ 19 h 22"/>
                <a:gd name="T44" fmla="*/ 227 w 228"/>
                <a:gd name="T45" fmla="*/ 20 h 22"/>
                <a:gd name="T46" fmla="*/ 226 w 228"/>
                <a:gd name="T47" fmla="*/ 22 h 22"/>
                <a:gd name="T48" fmla="*/ 223 w 228"/>
                <a:gd name="T49" fmla="*/ 22 h 22"/>
                <a:gd name="T50" fmla="*/ 223 w 228"/>
                <a:gd name="T5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8" h="22">
                  <a:moveTo>
                    <a:pt x="223" y="22"/>
                  </a:moveTo>
                  <a:lnTo>
                    <a:pt x="5" y="22"/>
                  </a:lnTo>
                  <a:lnTo>
                    <a:pt x="5" y="22"/>
                  </a:lnTo>
                  <a:lnTo>
                    <a:pt x="4" y="22"/>
                  </a:lnTo>
                  <a:lnTo>
                    <a:pt x="1" y="20"/>
                  </a:lnTo>
                  <a:lnTo>
                    <a:pt x="0" y="19"/>
                  </a:lnTo>
                  <a:lnTo>
                    <a:pt x="0" y="16"/>
                  </a:lnTo>
                  <a:lnTo>
                    <a:pt x="0" y="6"/>
                  </a:lnTo>
                  <a:lnTo>
                    <a:pt x="0" y="6"/>
                  </a:lnTo>
                  <a:lnTo>
                    <a:pt x="0" y="4"/>
                  </a:lnTo>
                  <a:lnTo>
                    <a:pt x="1" y="1"/>
                  </a:lnTo>
                  <a:lnTo>
                    <a:pt x="4" y="0"/>
                  </a:lnTo>
                  <a:lnTo>
                    <a:pt x="5" y="0"/>
                  </a:lnTo>
                  <a:lnTo>
                    <a:pt x="223" y="0"/>
                  </a:lnTo>
                  <a:lnTo>
                    <a:pt x="223" y="0"/>
                  </a:lnTo>
                  <a:lnTo>
                    <a:pt x="226" y="0"/>
                  </a:lnTo>
                  <a:lnTo>
                    <a:pt x="227" y="1"/>
                  </a:lnTo>
                  <a:lnTo>
                    <a:pt x="228" y="4"/>
                  </a:lnTo>
                  <a:lnTo>
                    <a:pt x="228" y="6"/>
                  </a:lnTo>
                  <a:lnTo>
                    <a:pt x="228" y="16"/>
                  </a:lnTo>
                  <a:lnTo>
                    <a:pt x="228" y="16"/>
                  </a:lnTo>
                  <a:lnTo>
                    <a:pt x="228" y="19"/>
                  </a:lnTo>
                  <a:lnTo>
                    <a:pt x="227" y="20"/>
                  </a:lnTo>
                  <a:lnTo>
                    <a:pt x="226" y="22"/>
                  </a:lnTo>
                  <a:lnTo>
                    <a:pt x="223" y="22"/>
                  </a:lnTo>
                  <a:lnTo>
                    <a:pt x="223" y="2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4" name="Freeform 303">
              <a:extLst>
                <a:ext uri="{FF2B5EF4-FFF2-40B4-BE49-F238E27FC236}">
                  <a16:creationId xmlns:a16="http://schemas.microsoft.com/office/drawing/2014/main" id="{5D5217BF-0361-8C41-6693-A691C94CF65B}"/>
                </a:ext>
              </a:extLst>
            </p:cNvPr>
            <p:cNvSpPr>
              <a:spLocks/>
            </p:cNvSpPr>
            <p:nvPr/>
          </p:nvSpPr>
          <p:spPr bwMode="auto">
            <a:xfrm>
              <a:off x="1570038" y="6002973"/>
              <a:ext cx="36513" cy="58738"/>
            </a:xfrm>
            <a:custGeom>
              <a:avLst/>
              <a:gdLst>
                <a:gd name="T0" fmla="*/ 0 w 46"/>
                <a:gd name="T1" fmla="*/ 75 h 75"/>
                <a:gd name="T2" fmla="*/ 0 w 46"/>
                <a:gd name="T3" fmla="*/ 65 h 75"/>
                <a:gd name="T4" fmla="*/ 13 w 46"/>
                <a:gd name="T5" fmla="*/ 64 h 75"/>
                <a:gd name="T6" fmla="*/ 13 w 46"/>
                <a:gd name="T7" fmla="*/ 64 h 75"/>
                <a:gd name="T8" fmla="*/ 14 w 46"/>
                <a:gd name="T9" fmla="*/ 63 h 75"/>
                <a:gd name="T10" fmla="*/ 14 w 46"/>
                <a:gd name="T11" fmla="*/ 61 h 75"/>
                <a:gd name="T12" fmla="*/ 14 w 46"/>
                <a:gd name="T13" fmla="*/ 16 h 75"/>
                <a:gd name="T14" fmla="*/ 14 w 46"/>
                <a:gd name="T15" fmla="*/ 16 h 75"/>
                <a:gd name="T16" fmla="*/ 14 w 46"/>
                <a:gd name="T17" fmla="*/ 14 h 75"/>
                <a:gd name="T18" fmla="*/ 13 w 46"/>
                <a:gd name="T19" fmla="*/ 13 h 75"/>
                <a:gd name="T20" fmla="*/ 2 w 46"/>
                <a:gd name="T21" fmla="*/ 10 h 75"/>
                <a:gd name="T22" fmla="*/ 3 w 46"/>
                <a:gd name="T23" fmla="*/ 0 h 75"/>
                <a:gd name="T24" fmla="*/ 34 w 46"/>
                <a:gd name="T25" fmla="*/ 0 h 75"/>
                <a:gd name="T26" fmla="*/ 34 w 46"/>
                <a:gd name="T27" fmla="*/ 61 h 75"/>
                <a:gd name="T28" fmla="*/ 34 w 46"/>
                <a:gd name="T29" fmla="*/ 61 h 75"/>
                <a:gd name="T30" fmla="*/ 34 w 46"/>
                <a:gd name="T31" fmla="*/ 63 h 75"/>
                <a:gd name="T32" fmla="*/ 35 w 46"/>
                <a:gd name="T33" fmla="*/ 64 h 75"/>
                <a:gd name="T34" fmla="*/ 46 w 46"/>
                <a:gd name="T35" fmla="*/ 65 h 75"/>
                <a:gd name="T36" fmla="*/ 46 w 46"/>
                <a:gd name="T37" fmla="*/ 75 h 75"/>
                <a:gd name="T38" fmla="*/ 0 w 46"/>
                <a:gd name="T39"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 h="75">
                  <a:moveTo>
                    <a:pt x="0" y="75"/>
                  </a:moveTo>
                  <a:lnTo>
                    <a:pt x="0" y="65"/>
                  </a:lnTo>
                  <a:lnTo>
                    <a:pt x="13" y="64"/>
                  </a:lnTo>
                  <a:lnTo>
                    <a:pt x="13" y="64"/>
                  </a:lnTo>
                  <a:lnTo>
                    <a:pt x="14" y="63"/>
                  </a:lnTo>
                  <a:lnTo>
                    <a:pt x="14" y="61"/>
                  </a:lnTo>
                  <a:lnTo>
                    <a:pt x="14" y="16"/>
                  </a:lnTo>
                  <a:lnTo>
                    <a:pt x="14" y="16"/>
                  </a:lnTo>
                  <a:lnTo>
                    <a:pt x="14" y="14"/>
                  </a:lnTo>
                  <a:lnTo>
                    <a:pt x="13" y="13"/>
                  </a:lnTo>
                  <a:lnTo>
                    <a:pt x="2" y="10"/>
                  </a:lnTo>
                  <a:lnTo>
                    <a:pt x="3" y="0"/>
                  </a:lnTo>
                  <a:lnTo>
                    <a:pt x="34" y="0"/>
                  </a:lnTo>
                  <a:lnTo>
                    <a:pt x="34" y="61"/>
                  </a:lnTo>
                  <a:lnTo>
                    <a:pt x="34" y="61"/>
                  </a:lnTo>
                  <a:lnTo>
                    <a:pt x="34" y="63"/>
                  </a:lnTo>
                  <a:lnTo>
                    <a:pt x="35" y="64"/>
                  </a:lnTo>
                  <a:lnTo>
                    <a:pt x="46" y="65"/>
                  </a:lnTo>
                  <a:lnTo>
                    <a:pt x="46" y="75"/>
                  </a:lnTo>
                  <a:lnTo>
                    <a:pt x="0" y="7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25" name="Freeform 304">
              <a:extLst>
                <a:ext uri="{FF2B5EF4-FFF2-40B4-BE49-F238E27FC236}">
                  <a16:creationId xmlns:a16="http://schemas.microsoft.com/office/drawing/2014/main" id="{3BE9EA0F-4795-BBAD-CC8D-9CB919B6768B}"/>
                </a:ext>
              </a:extLst>
            </p:cNvPr>
            <p:cNvSpPr>
              <a:spLocks/>
            </p:cNvSpPr>
            <p:nvPr/>
          </p:nvSpPr>
          <p:spPr bwMode="auto">
            <a:xfrm>
              <a:off x="1563688" y="6088698"/>
              <a:ext cx="49213" cy="60325"/>
            </a:xfrm>
            <a:custGeom>
              <a:avLst/>
              <a:gdLst>
                <a:gd name="T0" fmla="*/ 0 w 60"/>
                <a:gd name="T1" fmla="*/ 77 h 77"/>
                <a:gd name="T2" fmla="*/ 0 w 60"/>
                <a:gd name="T3" fmla="*/ 65 h 77"/>
                <a:gd name="T4" fmla="*/ 17 w 60"/>
                <a:gd name="T5" fmla="*/ 47 h 77"/>
                <a:gd name="T6" fmla="*/ 17 w 60"/>
                <a:gd name="T7" fmla="*/ 47 h 77"/>
                <a:gd name="T8" fmla="*/ 32 w 60"/>
                <a:gd name="T9" fmla="*/ 33 h 77"/>
                <a:gd name="T10" fmla="*/ 35 w 60"/>
                <a:gd name="T11" fmla="*/ 27 h 77"/>
                <a:gd name="T12" fmla="*/ 36 w 60"/>
                <a:gd name="T13" fmla="*/ 22 h 77"/>
                <a:gd name="T14" fmla="*/ 36 w 60"/>
                <a:gd name="T15" fmla="*/ 22 h 77"/>
                <a:gd name="T16" fmla="*/ 36 w 60"/>
                <a:gd name="T17" fmla="*/ 19 h 77"/>
                <a:gd name="T18" fmla="*/ 35 w 60"/>
                <a:gd name="T19" fmla="*/ 17 h 77"/>
                <a:gd name="T20" fmla="*/ 32 w 60"/>
                <a:gd name="T21" fmla="*/ 15 h 77"/>
                <a:gd name="T22" fmla="*/ 27 w 60"/>
                <a:gd name="T23" fmla="*/ 14 h 77"/>
                <a:gd name="T24" fmla="*/ 27 w 60"/>
                <a:gd name="T25" fmla="*/ 14 h 77"/>
                <a:gd name="T26" fmla="*/ 23 w 60"/>
                <a:gd name="T27" fmla="*/ 14 h 77"/>
                <a:gd name="T28" fmla="*/ 20 w 60"/>
                <a:gd name="T29" fmla="*/ 17 h 77"/>
                <a:gd name="T30" fmla="*/ 17 w 60"/>
                <a:gd name="T31" fmla="*/ 19 h 77"/>
                <a:gd name="T32" fmla="*/ 17 w 60"/>
                <a:gd name="T33" fmla="*/ 26 h 77"/>
                <a:gd name="T34" fmla="*/ 0 w 60"/>
                <a:gd name="T35" fmla="*/ 25 h 77"/>
                <a:gd name="T36" fmla="*/ 0 w 60"/>
                <a:gd name="T37" fmla="*/ 25 h 77"/>
                <a:gd name="T38" fmla="*/ 0 w 60"/>
                <a:gd name="T39" fmla="*/ 17 h 77"/>
                <a:gd name="T40" fmla="*/ 2 w 60"/>
                <a:gd name="T41" fmla="*/ 11 h 77"/>
                <a:gd name="T42" fmla="*/ 5 w 60"/>
                <a:gd name="T43" fmla="*/ 7 h 77"/>
                <a:gd name="T44" fmla="*/ 9 w 60"/>
                <a:gd name="T45" fmla="*/ 4 h 77"/>
                <a:gd name="T46" fmla="*/ 13 w 60"/>
                <a:gd name="T47" fmla="*/ 2 h 77"/>
                <a:gd name="T48" fmla="*/ 19 w 60"/>
                <a:gd name="T49" fmla="*/ 0 h 77"/>
                <a:gd name="T50" fmla="*/ 29 w 60"/>
                <a:gd name="T51" fmla="*/ 0 h 77"/>
                <a:gd name="T52" fmla="*/ 29 w 60"/>
                <a:gd name="T53" fmla="*/ 0 h 77"/>
                <a:gd name="T54" fmla="*/ 36 w 60"/>
                <a:gd name="T55" fmla="*/ 0 h 77"/>
                <a:gd name="T56" fmla="*/ 41 w 60"/>
                <a:gd name="T57" fmla="*/ 2 h 77"/>
                <a:gd name="T58" fmla="*/ 47 w 60"/>
                <a:gd name="T59" fmla="*/ 3 h 77"/>
                <a:gd name="T60" fmla="*/ 49 w 60"/>
                <a:gd name="T61" fmla="*/ 6 h 77"/>
                <a:gd name="T62" fmla="*/ 54 w 60"/>
                <a:gd name="T63" fmla="*/ 8 h 77"/>
                <a:gd name="T64" fmla="*/ 55 w 60"/>
                <a:gd name="T65" fmla="*/ 12 h 77"/>
                <a:gd name="T66" fmla="*/ 56 w 60"/>
                <a:gd name="T67" fmla="*/ 17 h 77"/>
                <a:gd name="T68" fmla="*/ 56 w 60"/>
                <a:gd name="T69" fmla="*/ 21 h 77"/>
                <a:gd name="T70" fmla="*/ 56 w 60"/>
                <a:gd name="T71" fmla="*/ 21 h 77"/>
                <a:gd name="T72" fmla="*/ 55 w 60"/>
                <a:gd name="T73" fmla="*/ 29 h 77"/>
                <a:gd name="T74" fmla="*/ 51 w 60"/>
                <a:gd name="T75" fmla="*/ 37 h 77"/>
                <a:gd name="T76" fmla="*/ 45 w 60"/>
                <a:gd name="T77" fmla="*/ 43 h 77"/>
                <a:gd name="T78" fmla="*/ 39 w 60"/>
                <a:gd name="T79" fmla="*/ 50 h 77"/>
                <a:gd name="T80" fmla="*/ 24 w 60"/>
                <a:gd name="T81" fmla="*/ 65 h 77"/>
                <a:gd name="T82" fmla="*/ 43 w 60"/>
                <a:gd name="T83" fmla="*/ 65 h 77"/>
                <a:gd name="T84" fmla="*/ 43 w 60"/>
                <a:gd name="T85" fmla="*/ 65 h 77"/>
                <a:gd name="T86" fmla="*/ 44 w 60"/>
                <a:gd name="T87" fmla="*/ 64 h 77"/>
                <a:gd name="T88" fmla="*/ 44 w 60"/>
                <a:gd name="T89" fmla="*/ 62 h 77"/>
                <a:gd name="T90" fmla="*/ 47 w 60"/>
                <a:gd name="T91" fmla="*/ 53 h 77"/>
                <a:gd name="T92" fmla="*/ 60 w 60"/>
                <a:gd name="T93" fmla="*/ 53 h 77"/>
                <a:gd name="T94" fmla="*/ 60 w 60"/>
                <a:gd name="T95" fmla="*/ 77 h 77"/>
                <a:gd name="T96" fmla="*/ 0 w 60"/>
                <a:gd name="T9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0" h="77">
                  <a:moveTo>
                    <a:pt x="0" y="77"/>
                  </a:moveTo>
                  <a:lnTo>
                    <a:pt x="0" y="65"/>
                  </a:lnTo>
                  <a:lnTo>
                    <a:pt x="17" y="47"/>
                  </a:lnTo>
                  <a:lnTo>
                    <a:pt x="17" y="47"/>
                  </a:lnTo>
                  <a:lnTo>
                    <a:pt x="32" y="33"/>
                  </a:lnTo>
                  <a:lnTo>
                    <a:pt x="35" y="27"/>
                  </a:lnTo>
                  <a:lnTo>
                    <a:pt x="36" y="22"/>
                  </a:lnTo>
                  <a:lnTo>
                    <a:pt x="36" y="22"/>
                  </a:lnTo>
                  <a:lnTo>
                    <a:pt x="36" y="19"/>
                  </a:lnTo>
                  <a:lnTo>
                    <a:pt x="35" y="17"/>
                  </a:lnTo>
                  <a:lnTo>
                    <a:pt x="32" y="15"/>
                  </a:lnTo>
                  <a:lnTo>
                    <a:pt x="27" y="14"/>
                  </a:lnTo>
                  <a:lnTo>
                    <a:pt x="27" y="14"/>
                  </a:lnTo>
                  <a:lnTo>
                    <a:pt x="23" y="14"/>
                  </a:lnTo>
                  <a:lnTo>
                    <a:pt x="20" y="17"/>
                  </a:lnTo>
                  <a:lnTo>
                    <a:pt x="17" y="19"/>
                  </a:lnTo>
                  <a:lnTo>
                    <a:pt x="17" y="26"/>
                  </a:lnTo>
                  <a:lnTo>
                    <a:pt x="0" y="25"/>
                  </a:lnTo>
                  <a:lnTo>
                    <a:pt x="0" y="25"/>
                  </a:lnTo>
                  <a:lnTo>
                    <a:pt x="0" y="17"/>
                  </a:lnTo>
                  <a:lnTo>
                    <a:pt x="2" y="11"/>
                  </a:lnTo>
                  <a:lnTo>
                    <a:pt x="5" y="7"/>
                  </a:lnTo>
                  <a:lnTo>
                    <a:pt x="9" y="4"/>
                  </a:lnTo>
                  <a:lnTo>
                    <a:pt x="13" y="2"/>
                  </a:lnTo>
                  <a:lnTo>
                    <a:pt x="19" y="0"/>
                  </a:lnTo>
                  <a:lnTo>
                    <a:pt x="29" y="0"/>
                  </a:lnTo>
                  <a:lnTo>
                    <a:pt x="29" y="0"/>
                  </a:lnTo>
                  <a:lnTo>
                    <a:pt x="36" y="0"/>
                  </a:lnTo>
                  <a:lnTo>
                    <a:pt x="41" y="2"/>
                  </a:lnTo>
                  <a:lnTo>
                    <a:pt x="47" y="3"/>
                  </a:lnTo>
                  <a:lnTo>
                    <a:pt x="49" y="6"/>
                  </a:lnTo>
                  <a:lnTo>
                    <a:pt x="54" y="8"/>
                  </a:lnTo>
                  <a:lnTo>
                    <a:pt x="55" y="12"/>
                  </a:lnTo>
                  <a:lnTo>
                    <a:pt x="56" y="17"/>
                  </a:lnTo>
                  <a:lnTo>
                    <a:pt x="56" y="21"/>
                  </a:lnTo>
                  <a:lnTo>
                    <a:pt x="56" y="21"/>
                  </a:lnTo>
                  <a:lnTo>
                    <a:pt x="55" y="29"/>
                  </a:lnTo>
                  <a:lnTo>
                    <a:pt x="51" y="37"/>
                  </a:lnTo>
                  <a:lnTo>
                    <a:pt x="45" y="43"/>
                  </a:lnTo>
                  <a:lnTo>
                    <a:pt x="39" y="50"/>
                  </a:lnTo>
                  <a:lnTo>
                    <a:pt x="24" y="65"/>
                  </a:lnTo>
                  <a:lnTo>
                    <a:pt x="43" y="65"/>
                  </a:lnTo>
                  <a:lnTo>
                    <a:pt x="43" y="65"/>
                  </a:lnTo>
                  <a:lnTo>
                    <a:pt x="44" y="64"/>
                  </a:lnTo>
                  <a:lnTo>
                    <a:pt x="44" y="62"/>
                  </a:lnTo>
                  <a:lnTo>
                    <a:pt x="47" y="53"/>
                  </a:lnTo>
                  <a:lnTo>
                    <a:pt x="60" y="53"/>
                  </a:lnTo>
                  <a:lnTo>
                    <a:pt x="60" y="77"/>
                  </a:lnTo>
                  <a:lnTo>
                    <a:pt x="0" y="7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6" name="Freeform 305">
              <a:extLst>
                <a:ext uri="{FF2B5EF4-FFF2-40B4-BE49-F238E27FC236}">
                  <a16:creationId xmlns:a16="http://schemas.microsoft.com/office/drawing/2014/main" id="{F3A4BACF-9D47-30D5-E8DB-83994C27D06E}"/>
                </a:ext>
              </a:extLst>
            </p:cNvPr>
            <p:cNvSpPr>
              <a:spLocks/>
            </p:cNvSpPr>
            <p:nvPr/>
          </p:nvSpPr>
          <p:spPr bwMode="auto">
            <a:xfrm>
              <a:off x="1563688" y="6159778"/>
              <a:ext cx="49214" cy="71438"/>
            </a:xfrm>
            <a:custGeom>
              <a:avLst/>
              <a:gdLst>
                <a:gd name="T0" fmla="*/ 46 w 64"/>
                <a:gd name="T1" fmla="*/ 43 h 88"/>
                <a:gd name="T2" fmla="*/ 60 w 64"/>
                <a:gd name="T3" fmla="*/ 49 h 88"/>
                <a:gd name="T4" fmla="*/ 64 w 64"/>
                <a:gd name="T5" fmla="*/ 63 h 88"/>
                <a:gd name="T6" fmla="*/ 62 w 64"/>
                <a:gd name="T7" fmla="*/ 69 h 88"/>
                <a:gd name="T8" fmla="*/ 58 w 64"/>
                <a:gd name="T9" fmla="*/ 79 h 88"/>
                <a:gd name="T10" fmla="*/ 50 w 64"/>
                <a:gd name="T11" fmla="*/ 84 h 88"/>
                <a:gd name="T12" fmla="*/ 38 w 64"/>
                <a:gd name="T13" fmla="*/ 88 h 88"/>
                <a:gd name="T14" fmla="*/ 31 w 64"/>
                <a:gd name="T15" fmla="*/ 88 h 88"/>
                <a:gd name="T16" fmla="*/ 14 w 64"/>
                <a:gd name="T17" fmla="*/ 84 h 88"/>
                <a:gd name="T18" fmla="*/ 0 w 64"/>
                <a:gd name="T19" fmla="*/ 76 h 88"/>
                <a:gd name="T20" fmla="*/ 11 w 64"/>
                <a:gd name="T21" fmla="*/ 64 h 88"/>
                <a:gd name="T22" fmla="*/ 19 w 64"/>
                <a:gd name="T23" fmla="*/ 71 h 88"/>
                <a:gd name="T24" fmla="*/ 30 w 64"/>
                <a:gd name="T25" fmla="*/ 73 h 88"/>
                <a:gd name="T26" fmla="*/ 35 w 64"/>
                <a:gd name="T27" fmla="*/ 72 h 88"/>
                <a:gd name="T28" fmla="*/ 42 w 64"/>
                <a:gd name="T29" fmla="*/ 67 h 88"/>
                <a:gd name="T30" fmla="*/ 43 w 64"/>
                <a:gd name="T31" fmla="*/ 61 h 88"/>
                <a:gd name="T32" fmla="*/ 41 w 64"/>
                <a:gd name="T33" fmla="*/ 53 h 88"/>
                <a:gd name="T34" fmla="*/ 31 w 64"/>
                <a:gd name="T35" fmla="*/ 51 h 88"/>
                <a:gd name="T36" fmla="*/ 21 w 64"/>
                <a:gd name="T37" fmla="*/ 51 h 88"/>
                <a:gd name="T38" fmla="*/ 27 w 64"/>
                <a:gd name="T39" fmla="*/ 37 h 88"/>
                <a:gd name="T40" fmla="*/ 34 w 64"/>
                <a:gd name="T41" fmla="*/ 36 h 88"/>
                <a:gd name="T42" fmla="*/ 41 w 64"/>
                <a:gd name="T43" fmla="*/ 29 h 88"/>
                <a:gd name="T44" fmla="*/ 42 w 64"/>
                <a:gd name="T45" fmla="*/ 24 h 88"/>
                <a:gd name="T46" fmla="*/ 39 w 64"/>
                <a:gd name="T47" fmla="*/ 17 h 88"/>
                <a:gd name="T48" fmla="*/ 33 w 64"/>
                <a:gd name="T49" fmla="*/ 14 h 88"/>
                <a:gd name="T50" fmla="*/ 27 w 64"/>
                <a:gd name="T51" fmla="*/ 14 h 88"/>
                <a:gd name="T52" fmla="*/ 23 w 64"/>
                <a:gd name="T53" fmla="*/ 20 h 88"/>
                <a:gd name="T54" fmla="*/ 4 w 64"/>
                <a:gd name="T55" fmla="*/ 24 h 88"/>
                <a:gd name="T56" fmla="*/ 4 w 64"/>
                <a:gd name="T57" fmla="*/ 17 h 88"/>
                <a:gd name="T58" fmla="*/ 10 w 64"/>
                <a:gd name="T59" fmla="*/ 8 h 88"/>
                <a:gd name="T60" fmla="*/ 18 w 64"/>
                <a:gd name="T61" fmla="*/ 2 h 88"/>
                <a:gd name="T62" fmla="*/ 34 w 64"/>
                <a:gd name="T63" fmla="*/ 0 h 88"/>
                <a:gd name="T64" fmla="*/ 41 w 64"/>
                <a:gd name="T65" fmla="*/ 1 h 88"/>
                <a:gd name="T66" fmla="*/ 51 w 64"/>
                <a:gd name="T67" fmla="*/ 4 h 88"/>
                <a:gd name="T68" fmla="*/ 58 w 64"/>
                <a:gd name="T69" fmla="*/ 9 h 88"/>
                <a:gd name="T70" fmla="*/ 61 w 64"/>
                <a:gd name="T71" fmla="*/ 17 h 88"/>
                <a:gd name="T72" fmla="*/ 61 w 64"/>
                <a:gd name="T73" fmla="*/ 22 h 88"/>
                <a:gd name="T74" fmla="*/ 57 w 64"/>
                <a:gd name="T75" fmla="*/ 36 h 88"/>
                <a:gd name="T76" fmla="*/ 46 w 64"/>
                <a:gd name="T77" fmla="*/ 4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4" h="88">
                  <a:moveTo>
                    <a:pt x="46" y="43"/>
                  </a:moveTo>
                  <a:lnTo>
                    <a:pt x="46" y="43"/>
                  </a:lnTo>
                  <a:lnTo>
                    <a:pt x="54" y="45"/>
                  </a:lnTo>
                  <a:lnTo>
                    <a:pt x="60" y="49"/>
                  </a:lnTo>
                  <a:lnTo>
                    <a:pt x="62" y="55"/>
                  </a:lnTo>
                  <a:lnTo>
                    <a:pt x="64" y="63"/>
                  </a:lnTo>
                  <a:lnTo>
                    <a:pt x="64" y="63"/>
                  </a:lnTo>
                  <a:lnTo>
                    <a:pt x="62" y="69"/>
                  </a:lnTo>
                  <a:lnTo>
                    <a:pt x="61" y="73"/>
                  </a:lnTo>
                  <a:lnTo>
                    <a:pt x="58" y="79"/>
                  </a:lnTo>
                  <a:lnTo>
                    <a:pt x="54" y="82"/>
                  </a:lnTo>
                  <a:lnTo>
                    <a:pt x="50" y="84"/>
                  </a:lnTo>
                  <a:lnTo>
                    <a:pt x="45" y="87"/>
                  </a:lnTo>
                  <a:lnTo>
                    <a:pt x="38" y="88"/>
                  </a:lnTo>
                  <a:lnTo>
                    <a:pt x="31" y="88"/>
                  </a:lnTo>
                  <a:lnTo>
                    <a:pt x="31" y="88"/>
                  </a:lnTo>
                  <a:lnTo>
                    <a:pt x="22" y="87"/>
                  </a:lnTo>
                  <a:lnTo>
                    <a:pt x="14" y="84"/>
                  </a:lnTo>
                  <a:lnTo>
                    <a:pt x="6" y="82"/>
                  </a:lnTo>
                  <a:lnTo>
                    <a:pt x="0" y="76"/>
                  </a:lnTo>
                  <a:lnTo>
                    <a:pt x="11" y="64"/>
                  </a:lnTo>
                  <a:lnTo>
                    <a:pt x="11" y="64"/>
                  </a:lnTo>
                  <a:lnTo>
                    <a:pt x="15" y="68"/>
                  </a:lnTo>
                  <a:lnTo>
                    <a:pt x="19" y="71"/>
                  </a:lnTo>
                  <a:lnTo>
                    <a:pt x="25" y="72"/>
                  </a:lnTo>
                  <a:lnTo>
                    <a:pt x="30" y="73"/>
                  </a:lnTo>
                  <a:lnTo>
                    <a:pt x="30" y="73"/>
                  </a:lnTo>
                  <a:lnTo>
                    <a:pt x="35" y="72"/>
                  </a:lnTo>
                  <a:lnTo>
                    <a:pt x="39" y="71"/>
                  </a:lnTo>
                  <a:lnTo>
                    <a:pt x="42" y="67"/>
                  </a:lnTo>
                  <a:lnTo>
                    <a:pt x="43" y="61"/>
                  </a:lnTo>
                  <a:lnTo>
                    <a:pt x="43" y="61"/>
                  </a:lnTo>
                  <a:lnTo>
                    <a:pt x="43" y="56"/>
                  </a:lnTo>
                  <a:lnTo>
                    <a:pt x="41" y="53"/>
                  </a:lnTo>
                  <a:lnTo>
                    <a:pt x="37" y="51"/>
                  </a:lnTo>
                  <a:lnTo>
                    <a:pt x="31" y="51"/>
                  </a:lnTo>
                  <a:lnTo>
                    <a:pt x="31" y="51"/>
                  </a:lnTo>
                  <a:lnTo>
                    <a:pt x="21" y="51"/>
                  </a:lnTo>
                  <a:lnTo>
                    <a:pt x="21" y="39"/>
                  </a:lnTo>
                  <a:lnTo>
                    <a:pt x="27" y="37"/>
                  </a:lnTo>
                  <a:lnTo>
                    <a:pt x="27" y="37"/>
                  </a:lnTo>
                  <a:lnTo>
                    <a:pt x="34" y="36"/>
                  </a:lnTo>
                  <a:lnTo>
                    <a:pt x="38" y="33"/>
                  </a:lnTo>
                  <a:lnTo>
                    <a:pt x="41" y="29"/>
                  </a:lnTo>
                  <a:lnTo>
                    <a:pt x="42" y="24"/>
                  </a:lnTo>
                  <a:lnTo>
                    <a:pt x="42" y="24"/>
                  </a:lnTo>
                  <a:lnTo>
                    <a:pt x="42" y="20"/>
                  </a:lnTo>
                  <a:lnTo>
                    <a:pt x="39" y="17"/>
                  </a:lnTo>
                  <a:lnTo>
                    <a:pt x="37" y="14"/>
                  </a:lnTo>
                  <a:lnTo>
                    <a:pt x="33" y="14"/>
                  </a:lnTo>
                  <a:lnTo>
                    <a:pt x="33" y="14"/>
                  </a:lnTo>
                  <a:lnTo>
                    <a:pt x="27" y="14"/>
                  </a:lnTo>
                  <a:lnTo>
                    <a:pt x="25" y="17"/>
                  </a:lnTo>
                  <a:lnTo>
                    <a:pt x="23" y="20"/>
                  </a:lnTo>
                  <a:lnTo>
                    <a:pt x="22" y="26"/>
                  </a:lnTo>
                  <a:lnTo>
                    <a:pt x="4" y="24"/>
                  </a:lnTo>
                  <a:lnTo>
                    <a:pt x="4" y="24"/>
                  </a:lnTo>
                  <a:lnTo>
                    <a:pt x="4" y="17"/>
                  </a:lnTo>
                  <a:lnTo>
                    <a:pt x="7" y="12"/>
                  </a:lnTo>
                  <a:lnTo>
                    <a:pt x="10" y="8"/>
                  </a:lnTo>
                  <a:lnTo>
                    <a:pt x="14" y="5"/>
                  </a:lnTo>
                  <a:lnTo>
                    <a:pt x="18" y="2"/>
                  </a:lnTo>
                  <a:lnTo>
                    <a:pt x="23" y="1"/>
                  </a:lnTo>
                  <a:lnTo>
                    <a:pt x="34" y="0"/>
                  </a:lnTo>
                  <a:lnTo>
                    <a:pt x="34" y="0"/>
                  </a:lnTo>
                  <a:lnTo>
                    <a:pt x="41" y="1"/>
                  </a:lnTo>
                  <a:lnTo>
                    <a:pt x="46" y="2"/>
                  </a:lnTo>
                  <a:lnTo>
                    <a:pt x="51" y="4"/>
                  </a:lnTo>
                  <a:lnTo>
                    <a:pt x="54" y="6"/>
                  </a:lnTo>
                  <a:lnTo>
                    <a:pt x="58" y="9"/>
                  </a:lnTo>
                  <a:lnTo>
                    <a:pt x="60" y="13"/>
                  </a:lnTo>
                  <a:lnTo>
                    <a:pt x="61" y="17"/>
                  </a:lnTo>
                  <a:lnTo>
                    <a:pt x="61" y="22"/>
                  </a:lnTo>
                  <a:lnTo>
                    <a:pt x="61" y="22"/>
                  </a:lnTo>
                  <a:lnTo>
                    <a:pt x="60" y="29"/>
                  </a:lnTo>
                  <a:lnTo>
                    <a:pt x="57" y="36"/>
                  </a:lnTo>
                  <a:lnTo>
                    <a:pt x="51" y="40"/>
                  </a:lnTo>
                  <a:lnTo>
                    <a:pt x="46" y="43"/>
                  </a:lnTo>
                  <a:lnTo>
                    <a:pt x="46" y="4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grpSp>
        <p:nvGrpSpPr>
          <p:cNvPr id="27" name="Group 26">
            <a:extLst>
              <a:ext uri="{FF2B5EF4-FFF2-40B4-BE49-F238E27FC236}">
                <a16:creationId xmlns:a16="http://schemas.microsoft.com/office/drawing/2014/main" id="{FDAADE03-AE94-C693-F43C-F105B1F03BEE}"/>
              </a:ext>
            </a:extLst>
          </p:cNvPr>
          <p:cNvGrpSpPr>
            <a:grpSpLocks noChangeAspect="1"/>
          </p:cNvGrpSpPr>
          <p:nvPr userDrawn="1"/>
        </p:nvGrpSpPr>
        <p:grpSpPr>
          <a:xfrm>
            <a:off x="5056825" y="2294723"/>
            <a:ext cx="458044" cy="442889"/>
            <a:chOff x="4951414" y="1663700"/>
            <a:chExt cx="522288" cy="522288"/>
          </a:xfrm>
          <a:solidFill>
            <a:schemeClr val="tx1"/>
          </a:solidFill>
        </p:grpSpPr>
        <p:sp>
          <p:nvSpPr>
            <p:cNvPr id="28" name="Freeform 21">
              <a:extLst>
                <a:ext uri="{FF2B5EF4-FFF2-40B4-BE49-F238E27FC236}">
                  <a16:creationId xmlns:a16="http://schemas.microsoft.com/office/drawing/2014/main" id="{7545B586-31E0-B066-5564-EA3C11373F34}"/>
                </a:ext>
              </a:extLst>
            </p:cNvPr>
            <p:cNvSpPr>
              <a:spLocks noEditPoints="1"/>
            </p:cNvSpPr>
            <p:nvPr/>
          </p:nvSpPr>
          <p:spPr bwMode="auto">
            <a:xfrm>
              <a:off x="4951414" y="1663700"/>
              <a:ext cx="522288" cy="522288"/>
            </a:xfrm>
            <a:custGeom>
              <a:avLst/>
              <a:gdLst>
                <a:gd name="T0" fmla="*/ 313 w 658"/>
                <a:gd name="T1" fmla="*/ 657 h 658"/>
                <a:gd name="T2" fmla="*/ 263 w 658"/>
                <a:gd name="T3" fmla="*/ 651 h 658"/>
                <a:gd name="T4" fmla="*/ 201 w 658"/>
                <a:gd name="T5" fmla="*/ 631 h 658"/>
                <a:gd name="T6" fmla="*/ 121 w 658"/>
                <a:gd name="T7" fmla="*/ 583 h 658"/>
                <a:gd name="T8" fmla="*/ 56 w 658"/>
                <a:gd name="T9" fmla="*/ 513 h 658"/>
                <a:gd name="T10" fmla="*/ 15 w 658"/>
                <a:gd name="T11" fmla="*/ 427 h 658"/>
                <a:gd name="T12" fmla="*/ 4 w 658"/>
                <a:gd name="T13" fmla="*/ 379 h 658"/>
                <a:gd name="T14" fmla="*/ 0 w 658"/>
                <a:gd name="T15" fmla="*/ 329 h 658"/>
                <a:gd name="T16" fmla="*/ 2 w 658"/>
                <a:gd name="T17" fmla="*/ 295 h 658"/>
                <a:gd name="T18" fmla="*/ 10 w 658"/>
                <a:gd name="T19" fmla="*/ 247 h 658"/>
                <a:gd name="T20" fmla="*/ 40 w 658"/>
                <a:gd name="T21" fmla="*/ 172 h 658"/>
                <a:gd name="T22" fmla="*/ 96 w 658"/>
                <a:gd name="T23" fmla="*/ 96 h 658"/>
                <a:gd name="T24" fmla="*/ 173 w 658"/>
                <a:gd name="T25" fmla="*/ 40 h 658"/>
                <a:gd name="T26" fmla="*/ 247 w 658"/>
                <a:gd name="T27" fmla="*/ 11 h 658"/>
                <a:gd name="T28" fmla="*/ 295 w 658"/>
                <a:gd name="T29" fmla="*/ 1 h 658"/>
                <a:gd name="T30" fmla="*/ 329 w 658"/>
                <a:gd name="T31" fmla="*/ 0 h 658"/>
                <a:gd name="T32" fmla="*/ 379 w 658"/>
                <a:gd name="T33" fmla="*/ 4 h 658"/>
                <a:gd name="T34" fmla="*/ 427 w 658"/>
                <a:gd name="T35" fmla="*/ 15 h 658"/>
                <a:gd name="T36" fmla="*/ 513 w 658"/>
                <a:gd name="T37" fmla="*/ 56 h 658"/>
                <a:gd name="T38" fmla="*/ 583 w 658"/>
                <a:gd name="T39" fmla="*/ 119 h 658"/>
                <a:gd name="T40" fmla="*/ 632 w 658"/>
                <a:gd name="T41" fmla="*/ 201 h 658"/>
                <a:gd name="T42" fmla="*/ 651 w 658"/>
                <a:gd name="T43" fmla="*/ 263 h 658"/>
                <a:gd name="T44" fmla="*/ 658 w 658"/>
                <a:gd name="T45" fmla="*/ 311 h 658"/>
                <a:gd name="T46" fmla="*/ 658 w 658"/>
                <a:gd name="T47" fmla="*/ 346 h 658"/>
                <a:gd name="T48" fmla="*/ 651 w 658"/>
                <a:gd name="T49" fmla="*/ 395 h 658"/>
                <a:gd name="T50" fmla="*/ 632 w 658"/>
                <a:gd name="T51" fmla="*/ 456 h 658"/>
                <a:gd name="T52" fmla="*/ 583 w 658"/>
                <a:gd name="T53" fmla="*/ 538 h 658"/>
                <a:gd name="T54" fmla="*/ 513 w 658"/>
                <a:gd name="T55" fmla="*/ 602 h 658"/>
                <a:gd name="T56" fmla="*/ 427 w 658"/>
                <a:gd name="T57" fmla="*/ 643 h 658"/>
                <a:gd name="T58" fmla="*/ 379 w 658"/>
                <a:gd name="T59" fmla="*/ 654 h 658"/>
                <a:gd name="T60" fmla="*/ 329 w 658"/>
                <a:gd name="T61" fmla="*/ 658 h 658"/>
                <a:gd name="T62" fmla="*/ 329 w 658"/>
                <a:gd name="T63" fmla="*/ 37 h 658"/>
                <a:gd name="T64" fmla="*/ 243 w 658"/>
                <a:gd name="T65" fmla="*/ 51 h 658"/>
                <a:gd name="T66" fmla="*/ 166 w 658"/>
                <a:gd name="T67" fmla="*/ 87 h 658"/>
                <a:gd name="T68" fmla="*/ 105 w 658"/>
                <a:gd name="T69" fmla="*/ 143 h 658"/>
                <a:gd name="T70" fmla="*/ 62 w 658"/>
                <a:gd name="T71" fmla="*/ 216 h 658"/>
                <a:gd name="T72" fmla="*/ 40 w 658"/>
                <a:gd name="T73" fmla="*/ 299 h 658"/>
                <a:gd name="T74" fmla="*/ 40 w 658"/>
                <a:gd name="T75" fmla="*/ 358 h 658"/>
                <a:gd name="T76" fmla="*/ 62 w 658"/>
                <a:gd name="T77" fmla="*/ 442 h 658"/>
                <a:gd name="T78" fmla="*/ 105 w 658"/>
                <a:gd name="T79" fmla="*/ 514 h 658"/>
                <a:gd name="T80" fmla="*/ 166 w 658"/>
                <a:gd name="T81" fmla="*/ 571 h 658"/>
                <a:gd name="T82" fmla="*/ 243 w 658"/>
                <a:gd name="T83" fmla="*/ 607 h 658"/>
                <a:gd name="T84" fmla="*/ 329 w 658"/>
                <a:gd name="T85" fmla="*/ 620 h 658"/>
                <a:gd name="T86" fmla="*/ 388 w 658"/>
                <a:gd name="T87" fmla="*/ 614 h 658"/>
                <a:gd name="T88" fmla="*/ 467 w 658"/>
                <a:gd name="T89" fmla="*/ 585 h 658"/>
                <a:gd name="T90" fmla="*/ 534 w 658"/>
                <a:gd name="T91" fmla="*/ 534 h 658"/>
                <a:gd name="T92" fmla="*/ 585 w 658"/>
                <a:gd name="T93" fmla="*/ 467 h 658"/>
                <a:gd name="T94" fmla="*/ 615 w 658"/>
                <a:gd name="T95" fmla="*/ 388 h 658"/>
                <a:gd name="T96" fmla="*/ 620 w 658"/>
                <a:gd name="T97" fmla="*/ 329 h 658"/>
                <a:gd name="T98" fmla="*/ 607 w 658"/>
                <a:gd name="T99" fmla="*/ 243 h 658"/>
                <a:gd name="T100" fmla="*/ 571 w 658"/>
                <a:gd name="T101" fmla="*/ 166 h 658"/>
                <a:gd name="T102" fmla="*/ 514 w 658"/>
                <a:gd name="T103" fmla="*/ 105 h 658"/>
                <a:gd name="T104" fmla="*/ 443 w 658"/>
                <a:gd name="T105" fmla="*/ 60 h 658"/>
                <a:gd name="T106" fmla="*/ 358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7"/>
                  </a:lnTo>
                  <a:lnTo>
                    <a:pt x="295" y="655"/>
                  </a:lnTo>
                  <a:lnTo>
                    <a:pt x="279" y="654"/>
                  </a:lnTo>
                  <a:lnTo>
                    <a:pt x="263" y="651"/>
                  </a:lnTo>
                  <a:lnTo>
                    <a:pt x="247" y="647"/>
                  </a:lnTo>
                  <a:lnTo>
                    <a:pt x="232" y="643"/>
                  </a:lnTo>
                  <a:lnTo>
                    <a:pt x="201" y="631"/>
                  </a:lnTo>
                  <a:lnTo>
                    <a:pt x="173" y="618"/>
                  </a:lnTo>
                  <a:lnTo>
                    <a:pt x="145" y="602"/>
                  </a:lnTo>
                  <a:lnTo>
                    <a:pt x="121" y="583"/>
                  </a:lnTo>
                  <a:lnTo>
                    <a:pt x="96" y="561"/>
                  </a:lnTo>
                  <a:lnTo>
                    <a:pt x="75" y="538"/>
                  </a:lnTo>
                  <a:lnTo>
                    <a:pt x="56" y="513"/>
                  </a:lnTo>
                  <a:lnTo>
                    <a:pt x="40" y="486"/>
                  </a:lnTo>
                  <a:lnTo>
                    <a:pt x="27" y="456"/>
                  </a:lnTo>
                  <a:lnTo>
                    <a:pt x="15" y="427"/>
                  </a:lnTo>
                  <a:lnTo>
                    <a:pt x="10" y="411"/>
                  </a:lnTo>
                  <a:lnTo>
                    <a:pt x="6" y="395"/>
                  </a:lnTo>
                  <a:lnTo>
                    <a:pt x="4" y="379"/>
                  </a:lnTo>
                  <a:lnTo>
                    <a:pt x="2" y="362"/>
                  </a:lnTo>
                  <a:lnTo>
                    <a:pt x="1" y="346"/>
                  </a:lnTo>
                  <a:lnTo>
                    <a:pt x="0" y="329"/>
                  </a:lnTo>
                  <a:lnTo>
                    <a:pt x="0" y="329"/>
                  </a:lnTo>
                  <a:lnTo>
                    <a:pt x="1" y="311"/>
                  </a:lnTo>
                  <a:lnTo>
                    <a:pt x="2" y="295"/>
                  </a:lnTo>
                  <a:lnTo>
                    <a:pt x="4" y="279"/>
                  </a:lnTo>
                  <a:lnTo>
                    <a:pt x="6" y="263"/>
                  </a:lnTo>
                  <a:lnTo>
                    <a:pt x="10" y="247"/>
                  </a:lnTo>
                  <a:lnTo>
                    <a:pt x="15" y="231"/>
                  </a:lnTo>
                  <a:lnTo>
                    <a:pt x="27" y="201"/>
                  </a:lnTo>
                  <a:lnTo>
                    <a:pt x="40" y="172"/>
                  </a:lnTo>
                  <a:lnTo>
                    <a:pt x="56" y="145"/>
                  </a:lnTo>
                  <a:lnTo>
                    <a:pt x="75" y="119"/>
                  </a:lnTo>
                  <a:lnTo>
                    <a:pt x="96" y="96"/>
                  </a:lnTo>
                  <a:lnTo>
                    <a:pt x="121" y="75"/>
                  </a:lnTo>
                  <a:lnTo>
                    <a:pt x="145" y="56"/>
                  </a:lnTo>
                  <a:lnTo>
                    <a:pt x="173" y="40"/>
                  </a:lnTo>
                  <a:lnTo>
                    <a:pt x="201" y="25"/>
                  </a:lnTo>
                  <a:lnTo>
                    <a:pt x="232" y="15"/>
                  </a:lnTo>
                  <a:lnTo>
                    <a:pt x="247" y="11"/>
                  </a:lnTo>
                  <a:lnTo>
                    <a:pt x="263" y="6"/>
                  </a:lnTo>
                  <a:lnTo>
                    <a:pt x="279" y="4"/>
                  </a:lnTo>
                  <a:lnTo>
                    <a:pt x="295" y="1"/>
                  </a:lnTo>
                  <a:lnTo>
                    <a:pt x="313" y="1"/>
                  </a:lnTo>
                  <a:lnTo>
                    <a:pt x="329" y="0"/>
                  </a:lnTo>
                  <a:lnTo>
                    <a:pt x="329" y="0"/>
                  </a:lnTo>
                  <a:lnTo>
                    <a:pt x="346" y="1"/>
                  </a:lnTo>
                  <a:lnTo>
                    <a:pt x="362" y="1"/>
                  </a:lnTo>
                  <a:lnTo>
                    <a:pt x="379" y="4"/>
                  </a:lnTo>
                  <a:lnTo>
                    <a:pt x="396" y="6"/>
                  </a:lnTo>
                  <a:lnTo>
                    <a:pt x="411" y="11"/>
                  </a:lnTo>
                  <a:lnTo>
                    <a:pt x="427" y="15"/>
                  </a:lnTo>
                  <a:lnTo>
                    <a:pt x="456" y="25"/>
                  </a:lnTo>
                  <a:lnTo>
                    <a:pt x="486" y="40"/>
                  </a:lnTo>
                  <a:lnTo>
                    <a:pt x="513" y="56"/>
                  </a:lnTo>
                  <a:lnTo>
                    <a:pt x="538" y="75"/>
                  </a:lnTo>
                  <a:lnTo>
                    <a:pt x="561" y="96"/>
                  </a:lnTo>
                  <a:lnTo>
                    <a:pt x="583" y="119"/>
                  </a:lnTo>
                  <a:lnTo>
                    <a:pt x="601" y="145"/>
                  </a:lnTo>
                  <a:lnTo>
                    <a:pt x="618" y="172"/>
                  </a:lnTo>
                  <a:lnTo>
                    <a:pt x="632" y="201"/>
                  </a:lnTo>
                  <a:lnTo>
                    <a:pt x="643" y="231"/>
                  </a:lnTo>
                  <a:lnTo>
                    <a:pt x="647" y="247"/>
                  </a:lnTo>
                  <a:lnTo>
                    <a:pt x="651" y="263"/>
                  </a:lnTo>
                  <a:lnTo>
                    <a:pt x="654" y="279"/>
                  </a:lnTo>
                  <a:lnTo>
                    <a:pt x="657" y="295"/>
                  </a:lnTo>
                  <a:lnTo>
                    <a:pt x="658" y="311"/>
                  </a:lnTo>
                  <a:lnTo>
                    <a:pt x="658" y="329"/>
                  </a:lnTo>
                  <a:lnTo>
                    <a:pt x="658" y="329"/>
                  </a:lnTo>
                  <a:lnTo>
                    <a:pt x="658" y="346"/>
                  </a:lnTo>
                  <a:lnTo>
                    <a:pt x="657" y="362"/>
                  </a:lnTo>
                  <a:lnTo>
                    <a:pt x="654" y="379"/>
                  </a:lnTo>
                  <a:lnTo>
                    <a:pt x="651" y="395"/>
                  </a:lnTo>
                  <a:lnTo>
                    <a:pt x="647" y="411"/>
                  </a:lnTo>
                  <a:lnTo>
                    <a:pt x="643" y="427"/>
                  </a:lnTo>
                  <a:lnTo>
                    <a:pt x="632" y="456"/>
                  </a:lnTo>
                  <a:lnTo>
                    <a:pt x="618" y="486"/>
                  </a:lnTo>
                  <a:lnTo>
                    <a:pt x="601" y="513"/>
                  </a:lnTo>
                  <a:lnTo>
                    <a:pt x="583" y="538"/>
                  </a:lnTo>
                  <a:lnTo>
                    <a:pt x="561" y="561"/>
                  </a:lnTo>
                  <a:lnTo>
                    <a:pt x="538" y="583"/>
                  </a:lnTo>
                  <a:lnTo>
                    <a:pt x="513" y="602"/>
                  </a:lnTo>
                  <a:lnTo>
                    <a:pt x="486" y="618"/>
                  </a:lnTo>
                  <a:lnTo>
                    <a:pt x="456" y="631"/>
                  </a:lnTo>
                  <a:lnTo>
                    <a:pt x="427" y="643"/>
                  </a:lnTo>
                  <a:lnTo>
                    <a:pt x="411" y="647"/>
                  </a:lnTo>
                  <a:lnTo>
                    <a:pt x="396" y="651"/>
                  </a:lnTo>
                  <a:lnTo>
                    <a:pt x="379" y="654"/>
                  </a:lnTo>
                  <a:lnTo>
                    <a:pt x="362" y="655"/>
                  </a:lnTo>
                  <a:lnTo>
                    <a:pt x="346" y="657"/>
                  </a:lnTo>
                  <a:lnTo>
                    <a:pt x="329" y="658"/>
                  </a:lnTo>
                  <a:lnTo>
                    <a:pt x="329" y="658"/>
                  </a:lnTo>
                  <a:close/>
                  <a:moveTo>
                    <a:pt x="329" y="37"/>
                  </a:moveTo>
                  <a:lnTo>
                    <a:pt x="329" y="37"/>
                  </a:lnTo>
                  <a:lnTo>
                    <a:pt x="299" y="39"/>
                  </a:lnTo>
                  <a:lnTo>
                    <a:pt x="271" y="44"/>
                  </a:lnTo>
                  <a:lnTo>
                    <a:pt x="243" y="51"/>
                  </a:lnTo>
                  <a:lnTo>
                    <a:pt x="216" y="60"/>
                  </a:lnTo>
                  <a:lnTo>
                    <a:pt x="190" y="72"/>
                  </a:lnTo>
                  <a:lnTo>
                    <a:pt x="166" y="87"/>
                  </a:lnTo>
                  <a:lnTo>
                    <a:pt x="143" y="105"/>
                  </a:lnTo>
                  <a:lnTo>
                    <a:pt x="123" y="123"/>
                  </a:lnTo>
                  <a:lnTo>
                    <a:pt x="105" y="143"/>
                  </a:lnTo>
                  <a:lnTo>
                    <a:pt x="88" y="166"/>
                  </a:lnTo>
                  <a:lnTo>
                    <a:pt x="74" y="191"/>
                  </a:lnTo>
                  <a:lnTo>
                    <a:pt x="62" y="216"/>
                  </a:lnTo>
                  <a:lnTo>
                    <a:pt x="51" y="243"/>
                  </a:lnTo>
                  <a:lnTo>
                    <a:pt x="44" y="270"/>
                  </a:lnTo>
                  <a:lnTo>
                    <a:pt x="40" y="299"/>
                  </a:lnTo>
                  <a:lnTo>
                    <a:pt x="37" y="329"/>
                  </a:lnTo>
                  <a:lnTo>
                    <a:pt x="37" y="329"/>
                  </a:lnTo>
                  <a:lnTo>
                    <a:pt x="40" y="358"/>
                  </a:lnTo>
                  <a:lnTo>
                    <a:pt x="44" y="388"/>
                  </a:lnTo>
                  <a:lnTo>
                    <a:pt x="51" y="415"/>
                  </a:lnTo>
                  <a:lnTo>
                    <a:pt x="62" y="442"/>
                  </a:lnTo>
                  <a:lnTo>
                    <a:pt x="74" y="467"/>
                  </a:lnTo>
                  <a:lnTo>
                    <a:pt x="88" y="491"/>
                  </a:lnTo>
                  <a:lnTo>
                    <a:pt x="105" y="514"/>
                  </a:lnTo>
                  <a:lnTo>
                    <a:pt x="123" y="534"/>
                  </a:lnTo>
                  <a:lnTo>
                    <a:pt x="143" y="553"/>
                  </a:lnTo>
                  <a:lnTo>
                    <a:pt x="166" y="571"/>
                  </a:lnTo>
                  <a:lnTo>
                    <a:pt x="190" y="585"/>
                  </a:lnTo>
                  <a:lnTo>
                    <a:pt x="216" y="597"/>
                  </a:lnTo>
                  <a:lnTo>
                    <a:pt x="243" y="607"/>
                  </a:lnTo>
                  <a:lnTo>
                    <a:pt x="271" y="614"/>
                  </a:lnTo>
                  <a:lnTo>
                    <a:pt x="299" y="619"/>
                  </a:lnTo>
                  <a:lnTo>
                    <a:pt x="329" y="620"/>
                  </a:lnTo>
                  <a:lnTo>
                    <a:pt x="329" y="620"/>
                  </a:lnTo>
                  <a:lnTo>
                    <a:pt x="358" y="619"/>
                  </a:lnTo>
                  <a:lnTo>
                    <a:pt x="388" y="614"/>
                  </a:lnTo>
                  <a:lnTo>
                    <a:pt x="416" y="607"/>
                  </a:lnTo>
                  <a:lnTo>
                    <a:pt x="443" y="597"/>
                  </a:lnTo>
                  <a:lnTo>
                    <a:pt x="467" y="585"/>
                  </a:lnTo>
                  <a:lnTo>
                    <a:pt x="491" y="571"/>
                  </a:lnTo>
                  <a:lnTo>
                    <a:pt x="514" y="553"/>
                  </a:lnTo>
                  <a:lnTo>
                    <a:pt x="534" y="534"/>
                  </a:lnTo>
                  <a:lnTo>
                    <a:pt x="553" y="514"/>
                  </a:lnTo>
                  <a:lnTo>
                    <a:pt x="571" y="491"/>
                  </a:lnTo>
                  <a:lnTo>
                    <a:pt x="585" y="467"/>
                  </a:lnTo>
                  <a:lnTo>
                    <a:pt x="597" y="442"/>
                  </a:lnTo>
                  <a:lnTo>
                    <a:pt x="607" y="415"/>
                  </a:lnTo>
                  <a:lnTo>
                    <a:pt x="615" y="388"/>
                  </a:lnTo>
                  <a:lnTo>
                    <a:pt x="619" y="358"/>
                  </a:lnTo>
                  <a:lnTo>
                    <a:pt x="620" y="329"/>
                  </a:lnTo>
                  <a:lnTo>
                    <a:pt x="620" y="329"/>
                  </a:lnTo>
                  <a:lnTo>
                    <a:pt x="619" y="299"/>
                  </a:lnTo>
                  <a:lnTo>
                    <a:pt x="615" y="270"/>
                  </a:lnTo>
                  <a:lnTo>
                    <a:pt x="607" y="243"/>
                  </a:lnTo>
                  <a:lnTo>
                    <a:pt x="597" y="216"/>
                  </a:lnTo>
                  <a:lnTo>
                    <a:pt x="585" y="191"/>
                  </a:lnTo>
                  <a:lnTo>
                    <a:pt x="571" y="166"/>
                  </a:lnTo>
                  <a:lnTo>
                    <a:pt x="553" y="143"/>
                  </a:lnTo>
                  <a:lnTo>
                    <a:pt x="534" y="123"/>
                  </a:lnTo>
                  <a:lnTo>
                    <a:pt x="514" y="105"/>
                  </a:lnTo>
                  <a:lnTo>
                    <a:pt x="491" y="87"/>
                  </a:lnTo>
                  <a:lnTo>
                    <a:pt x="467" y="72"/>
                  </a:lnTo>
                  <a:lnTo>
                    <a:pt x="443" y="60"/>
                  </a:lnTo>
                  <a:lnTo>
                    <a:pt x="416" y="51"/>
                  </a:lnTo>
                  <a:lnTo>
                    <a:pt x="388" y="44"/>
                  </a:lnTo>
                  <a:lnTo>
                    <a:pt x="358" y="39"/>
                  </a:lnTo>
                  <a:lnTo>
                    <a:pt x="329" y="37"/>
                  </a:lnTo>
                  <a:lnTo>
                    <a:pt x="329"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29" name="Freeform 179">
              <a:extLst>
                <a:ext uri="{FF2B5EF4-FFF2-40B4-BE49-F238E27FC236}">
                  <a16:creationId xmlns:a16="http://schemas.microsoft.com/office/drawing/2014/main" id="{43529734-979D-17F1-30A1-7A4409A0F8DF}"/>
                </a:ext>
              </a:extLst>
            </p:cNvPr>
            <p:cNvSpPr>
              <a:spLocks/>
            </p:cNvSpPr>
            <p:nvPr/>
          </p:nvSpPr>
          <p:spPr bwMode="auto">
            <a:xfrm>
              <a:off x="5172076" y="1911350"/>
              <a:ext cx="61913" cy="100013"/>
            </a:xfrm>
            <a:custGeom>
              <a:avLst/>
              <a:gdLst>
                <a:gd name="T0" fmla="*/ 72 w 78"/>
                <a:gd name="T1" fmla="*/ 0 h 127"/>
                <a:gd name="T2" fmla="*/ 4 w 78"/>
                <a:gd name="T3" fmla="*/ 0 h 127"/>
                <a:gd name="T4" fmla="*/ 4 w 78"/>
                <a:gd name="T5" fmla="*/ 0 h 127"/>
                <a:gd name="T6" fmla="*/ 1 w 78"/>
                <a:gd name="T7" fmla="*/ 2 h 127"/>
                <a:gd name="T8" fmla="*/ 0 w 78"/>
                <a:gd name="T9" fmla="*/ 6 h 127"/>
                <a:gd name="T10" fmla="*/ 0 w 78"/>
                <a:gd name="T11" fmla="*/ 123 h 127"/>
                <a:gd name="T12" fmla="*/ 0 w 78"/>
                <a:gd name="T13" fmla="*/ 123 h 127"/>
                <a:gd name="T14" fmla="*/ 1 w 78"/>
                <a:gd name="T15" fmla="*/ 125 h 127"/>
                <a:gd name="T16" fmla="*/ 4 w 78"/>
                <a:gd name="T17" fmla="*/ 127 h 127"/>
                <a:gd name="T18" fmla="*/ 72 w 78"/>
                <a:gd name="T19" fmla="*/ 127 h 127"/>
                <a:gd name="T20" fmla="*/ 72 w 78"/>
                <a:gd name="T21" fmla="*/ 127 h 127"/>
                <a:gd name="T22" fmla="*/ 76 w 78"/>
                <a:gd name="T23" fmla="*/ 125 h 127"/>
                <a:gd name="T24" fmla="*/ 78 w 78"/>
                <a:gd name="T25" fmla="*/ 123 h 127"/>
                <a:gd name="T26" fmla="*/ 78 w 78"/>
                <a:gd name="T27" fmla="*/ 6 h 127"/>
                <a:gd name="T28" fmla="*/ 78 w 78"/>
                <a:gd name="T29" fmla="*/ 6 h 127"/>
                <a:gd name="T30" fmla="*/ 76 w 78"/>
                <a:gd name="T31" fmla="*/ 2 h 127"/>
                <a:gd name="T32" fmla="*/ 72 w 78"/>
                <a:gd name="T33" fmla="*/ 0 h 127"/>
                <a:gd name="T34" fmla="*/ 72 w 78"/>
                <a:gd name="T3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27">
                  <a:moveTo>
                    <a:pt x="72" y="0"/>
                  </a:moveTo>
                  <a:lnTo>
                    <a:pt x="4" y="0"/>
                  </a:lnTo>
                  <a:lnTo>
                    <a:pt x="4" y="0"/>
                  </a:lnTo>
                  <a:lnTo>
                    <a:pt x="1" y="2"/>
                  </a:lnTo>
                  <a:lnTo>
                    <a:pt x="0" y="6"/>
                  </a:lnTo>
                  <a:lnTo>
                    <a:pt x="0" y="123"/>
                  </a:lnTo>
                  <a:lnTo>
                    <a:pt x="0" y="123"/>
                  </a:lnTo>
                  <a:lnTo>
                    <a:pt x="1" y="125"/>
                  </a:lnTo>
                  <a:lnTo>
                    <a:pt x="4" y="127"/>
                  </a:lnTo>
                  <a:lnTo>
                    <a:pt x="72" y="127"/>
                  </a:lnTo>
                  <a:lnTo>
                    <a:pt x="72" y="127"/>
                  </a:lnTo>
                  <a:lnTo>
                    <a:pt x="76" y="125"/>
                  </a:lnTo>
                  <a:lnTo>
                    <a:pt x="78" y="123"/>
                  </a:lnTo>
                  <a:lnTo>
                    <a:pt x="78" y="6"/>
                  </a:lnTo>
                  <a:lnTo>
                    <a:pt x="78" y="6"/>
                  </a:lnTo>
                  <a:lnTo>
                    <a:pt x="76" y="2"/>
                  </a:lnTo>
                  <a:lnTo>
                    <a:pt x="72" y="0"/>
                  </a:lnTo>
                  <a:lnTo>
                    <a:pt x="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0" name="Freeform 180">
              <a:extLst>
                <a:ext uri="{FF2B5EF4-FFF2-40B4-BE49-F238E27FC236}">
                  <a16:creationId xmlns:a16="http://schemas.microsoft.com/office/drawing/2014/main" id="{CAA9BB5E-44F4-A9EE-1B5A-4BE031B6B833}"/>
                </a:ext>
              </a:extLst>
            </p:cNvPr>
            <p:cNvSpPr>
              <a:spLocks/>
            </p:cNvSpPr>
            <p:nvPr/>
          </p:nvSpPr>
          <p:spPr bwMode="auto">
            <a:xfrm>
              <a:off x="5094288" y="1957388"/>
              <a:ext cx="61913" cy="53975"/>
            </a:xfrm>
            <a:custGeom>
              <a:avLst/>
              <a:gdLst>
                <a:gd name="T0" fmla="*/ 74 w 78"/>
                <a:gd name="T1" fmla="*/ 0 h 68"/>
                <a:gd name="T2" fmla="*/ 5 w 78"/>
                <a:gd name="T3" fmla="*/ 0 h 68"/>
                <a:gd name="T4" fmla="*/ 5 w 78"/>
                <a:gd name="T5" fmla="*/ 0 h 68"/>
                <a:gd name="T6" fmla="*/ 1 w 78"/>
                <a:gd name="T7" fmla="*/ 2 h 68"/>
                <a:gd name="T8" fmla="*/ 0 w 78"/>
                <a:gd name="T9" fmla="*/ 5 h 68"/>
                <a:gd name="T10" fmla="*/ 0 w 78"/>
                <a:gd name="T11" fmla="*/ 64 h 68"/>
                <a:gd name="T12" fmla="*/ 0 w 78"/>
                <a:gd name="T13" fmla="*/ 64 h 68"/>
                <a:gd name="T14" fmla="*/ 1 w 78"/>
                <a:gd name="T15" fmla="*/ 66 h 68"/>
                <a:gd name="T16" fmla="*/ 5 w 78"/>
                <a:gd name="T17" fmla="*/ 68 h 68"/>
                <a:gd name="T18" fmla="*/ 74 w 78"/>
                <a:gd name="T19" fmla="*/ 68 h 68"/>
                <a:gd name="T20" fmla="*/ 74 w 78"/>
                <a:gd name="T21" fmla="*/ 68 h 68"/>
                <a:gd name="T22" fmla="*/ 76 w 78"/>
                <a:gd name="T23" fmla="*/ 66 h 68"/>
                <a:gd name="T24" fmla="*/ 78 w 78"/>
                <a:gd name="T25" fmla="*/ 64 h 68"/>
                <a:gd name="T26" fmla="*/ 78 w 78"/>
                <a:gd name="T27" fmla="*/ 5 h 68"/>
                <a:gd name="T28" fmla="*/ 78 w 78"/>
                <a:gd name="T29" fmla="*/ 5 h 68"/>
                <a:gd name="T30" fmla="*/ 76 w 78"/>
                <a:gd name="T31" fmla="*/ 2 h 68"/>
                <a:gd name="T32" fmla="*/ 74 w 78"/>
                <a:gd name="T33" fmla="*/ 0 h 68"/>
                <a:gd name="T34" fmla="*/ 74 w 78"/>
                <a:gd name="T3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68">
                  <a:moveTo>
                    <a:pt x="74" y="0"/>
                  </a:moveTo>
                  <a:lnTo>
                    <a:pt x="5" y="0"/>
                  </a:lnTo>
                  <a:lnTo>
                    <a:pt x="5" y="0"/>
                  </a:lnTo>
                  <a:lnTo>
                    <a:pt x="1" y="2"/>
                  </a:lnTo>
                  <a:lnTo>
                    <a:pt x="0" y="5"/>
                  </a:lnTo>
                  <a:lnTo>
                    <a:pt x="0" y="64"/>
                  </a:lnTo>
                  <a:lnTo>
                    <a:pt x="0" y="64"/>
                  </a:lnTo>
                  <a:lnTo>
                    <a:pt x="1" y="66"/>
                  </a:lnTo>
                  <a:lnTo>
                    <a:pt x="5" y="68"/>
                  </a:lnTo>
                  <a:lnTo>
                    <a:pt x="74" y="68"/>
                  </a:lnTo>
                  <a:lnTo>
                    <a:pt x="74" y="68"/>
                  </a:lnTo>
                  <a:lnTo>
                    <a:pt x="76" y="66"/>
                  </a:lnTo>
                  <a:lnTo>
                    <a:pt x="78" y="64"/>
                  </a:lnTo>
                  <a:lnTo>
                    <a:pt x="78" y="5"/>
                  </a:lnTo>
                  <a:lnTo>
                    <a:pt x="78" y="5"/>
                  </a:lnTo>
                  <a:lnTo>
                    <a:pt x="76" y="2"/>
                  </a:lnTo>
                  <a:lnTo>
                    <a:pt x="74" y="0"/>
                  </a:lnTo>
                  <a:lnTo>
                    <a:pt x="7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31" name="Freeform 181">
              <a:extLst>
                <a:ext uri="{FF2B5EF4-FFF2-40B4-BE49-F238E27FC236}">
                  <a16:creationId xmlns:a16="http://schemas.microsoft.com/office/drawing/2014/main" id="{640EC786-9B40-76B4-1E9B-075F53295526}"/>
                </a:ext>
              </a:extLst>
            </p:cNvPr>
            <p:cNvSpPr>
              <a:spLocks/>
            </p:cNvSpPr>
            <p:nvPr/>
          </p:nvSpPr>
          <p:spPr bwMode="auto">
            <a:xfrm>
              <a:off x="5227638" y="1795463"/>
              <a:ext cx="106363" cy="215900"/>
            </a:xfrm>
            <a:custGeom>
              <a:avLst/>
              <a:gdLst>
                <a:gd name="T0" fmla="*/ 135 w 136"/>
                <a:gd name="T1" fmla="*/ 89 h 272"/>
                <a:gd name="T2" fmla="*/ 71 w 136"/>
                <a:gd name="T3" fmla="*/ 2 h 272"/>
                <a:gd name="T4" fmla="*/ 71 w 136"/>
                <a:gd name="T5" fmla="*/ 2 h 272"/>
                <a:gd name="T6" fmla="*/ 70 w 136"/>
                <a:gd name="T7" fmla="*/ 0 h 272"/>
                <a:gd name="T8" fmla="*/ 67 w 136"/>
                <a:gd name="T9" fmla="*/ 0 h 272"/>
                <a:gd name="T10" fmla="*/ 66 w 136"/>
                <a:gd name="T11" fmla="*/ 0 h 272"/>
                <a:gd name="T12" fmla="*/ 63 w 136"/>
                <a:gd name="T13" fmla="*/ 2 h 272"/>
                <a:gd name="T14" fmla="*/ 0 w 136"/>
                <a:gd name="T15" fmla="*/ 89 h 272"/>
                <a:gd name="T16" fmla="*/ 0 w 136"/>
                <a:gd name="T17" fmla="*/ 89 h 272"/>
                <a:gd name="T18" fmla="*/ 0 w 136"/>
                <a:gd name="T19" fmla="*/ 92 h 272"/>
                <a:gd name="T20" fmla="*/ 0 w 136"/>
                <a:gd name="T21" fmla="*/ 94 h 272"/>
                <a:gd name="T22" fmla="*/ 0 w 136"/>
                <a:gd name="T23" fmla="*/ 94 h 272"/>
                <a:gd name="T24" fmla="*/ 2 w 136"/>
                <a:gd name="T25" fmla="*/ 96 h 272"/>
                <a:gd name="T26" fmla="*/ 4 w 136"/>
                <a:gd name="T27" fmla="*/ 97 h 272"/>
                <a:gd name="T28" fmla="*/ 28 w 136"/>
                <a:gd name="T29" fmla="*/ 97 h 272"/>
                <a:gd name="T30" fmla="*/ 28 w 136"/>
                <a:gd name="T31" fmla="*/ 268 h 272"/>
                <a:gd name="T32" fmla="*/ 28 w 136"/>
                <a:gd name="T33" fmla="*/ 268 h 272"/>
                <a:gd name="T34" fmla="*/ 30 w 136"/>
                <a:gd name="T35" fmla="*/ 270 h 272"/>
                <a:gd name="T36" fmla="*/ 34 w 136"/>
                <a:gd name="T37" fmla="*/ 272 h 272"/>
                <a:gd name="T38" fmla="*/ 102 w 136"/>
                <a:gd name="T39" fmla="*/ 272 h 272"/>
                <a:gd name="T40" fmla="*/ 102 w 136"/>
                <a:gd name="T41" fmla="*/ 272 h 272"/>
                <a:gd name="T42" fmla="*/ 105 w 136"/>
                <a:gd name="T43" fmla="*/ 270 h 272"/>
                <a:gd name="T44" fmla="*/ 106 w 136"/>
                <a:gd name="T45" fmla="*/ 268 h 272"/>
                <a:gd name="T46" fmla="*/ 106 w 136"/>
                <a:gd name="T47" fmla="*/ 97 h 272"/>
                <a:gd name="T48" fmla="*/ 131 w 136"/>
                <a:gd name="T49" fmla="*/ 97 h 272"/>
                <a:gd name="T50" fmla="*/ 131 w 136"/>
                <a:gd name="T51" fmla="*/ 97 h 272"/>
                <a:gd name="T52" fmla="*/ 133 w 136"/>
                <a:gd name="T53" fmla="*/ 96 h 272"/>
                <a:gd name="T54" fmla="*/ 136 w 136"/>
                <a:gd name="T55" fmla="*/ 94 h 272"/>
                <a:gd name="T56" fmla="*/ 136 w 136"/>
                <a:gd name="T57" fmla="*/ 94 h 272"/>
                <a:gd name="T58" fmla="*/ 136 w 136"/>
                <a:gd name="T59" fmla="*/ 92 h 272"/>
                <a:gd name="T60" fmla="*/ 135 w 136"/>
                <a:gd name="T61" fmla="*/ 89 h 272"/>
                <a:gd name="T62" fmla="*/ 135 w 136"/>
                <a:gd name="T63" fmla="*/ 89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6" h="272">
                  <a:moveTo>
                    <a:pt x="135" y="89"/>
                  </a:moveTo>
                  <a:lnTo>
                    <a:pt x="71" y="2"/>
                  </a:lnTo>
                  <a:lnTo>
                    <a:pt x="71" y="2"/>
                  </a:lnTo>
                  <a:lnTo>
                    <a:pt x="70" y="0"/>
                  </a:lnTo>
                  <a:lnTo>
                    <a:pt x="67" y="0"/>
                  </a:lnTo>
                  <a:lnTo>
                    <a:pt x="66" y="0"/>
                  </a:lnTo>
                  <a:lnTo>
                    <a:pt x="63" y="2"/>
                  </a:lnTo>
                  <a:lnTo>
                    <a:pt x="0" y="89"/>
                  </a:lnTo>
                  <a:lnTo>
                    <a:pt x="0" y="89"/>
                  </a:lnTo>
                  <a:lnTo>
                    <a:pt x="0" y="92"/>
                  </a:lnTo>
                  <a:lnTo>
                    <a:pt x="0" y="94"/>
                  </a:lnTo>
                  <a:lnTo>
                    <a:pt x="0" y="94"/>
                  </a:lnTo>
                  <a:lnTo>
                    <a:pt x="2" y="96"/>
                  </a:lnTo>
                  <a:lnTo>
                    <a:pt x="4" y="97"/>
                  </a:lnTo>
                  <a:lnTo>
                    <a:pt x="28" y="97"/>
                  </a:lnTo>
                  <a:lnTo>
                    <a:pt x="28" y="268"/>
                  </a:lnTo>
                  <a:lnTo>
                    <a:pt x="28" y="268"/>
                  </a:lnTo>
                  <a:lnTo>
                    <a:pt x="30" y="270"/>
                  </a:lnTo>
                  <a:lnTo>
                    <a:pt x="34" y="272"/>
                  </a:lnTo>
                  <a:lnTo>
                    <a:pt x="102" y="272"/>
                  </a:lnTo>
                  <a:lnTo>
                    <a:pt x="102" y="272"/>
                  </a:lnTo>
                  <a:lnTo>
                    <a:pt x="105" y="270"/>
                  </a:lnTo>
                  <a:lnTo>
                    <a:pt x="106" y="268"/>
                  </a:lnTo>
                  <a:lnTo>
                    <a:pt x="106" y="97"/>
                  </a:lnTo>
                  <a:lnTo>
                    <a:pt x="131" y="97"/>
                  </a:lnTo>
                  <a:lnTo>
                    <a:pt x="131" y="97"/>
                  </a:lnTo>
                  <a:lnTo>
                    <a:pt x="133" y="96"/>
                  </a:lnTo>
                  <a:lnTo>
                    <a:pt x="136" y="94"/>
                  </a:lnTo>
                  <a:lnTo>
                    <a:pt x="136" y="94"/>
                  </a:lnTo>
                  <a:lnTo>
                    <a:pt x="136" y="92"/>
                  </a:lnTo>
                  <a:lnTo>
                    <a:pt x="135" y="89"/>
                  </a:lnTo>
                  <a:lnTo>
                    <a:pt x="135"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ptos" panose="020B0004020202020204" pitchFamily="34" charset="0"/>
                <a:ea typeface="+mn-ea"/>
                <a:cs typeface="+mn-cs"/>
              </a:endParaRPr>
            </a:p>
          </p:txBody>
        </p:sp>
      </p:grpSp>
      <p:cxnSp>
        <p:nvCxnSpPr>
          <p:cNvPr id="32" name="Straight Connector 31">
            <a:extLst>
              <a:ext uri="{FF2B5EF4-FFF2-40B4-BE49-F238E27FC236}">
                <a16:creationId xmlns:a16="http://schemas.microsoft.com/office/drawing/2014/main" id="{758A3BEC-AD2D-A0D7-D6D2-CA8BE5A3E539}"/>
              </a:ext>
            </a:extLst>
          </p:cNvPr>
          <p:cNvCxnSpPr>
            <a:cxnSpLocks/>
          </p:cNvCxnSpPr>
          <p:nvPr userDrawn="1"/>
        </p:nvCxnSpPr>
        <p:spPr>
          <a:xfrm flipH="1" flipV="1">
            <a:off x="3918030" y="1967532"/>
            <a:ext cx="1138824" cy="657960"/>
          </a:xfrm>
          <a:prstGeom prst="line">
            <a:avLst/>
          </a:prstGeom>
          <a:ln w="38100">
            <a:solidFill>
              <a:srgbClr val="C4D6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D887FCE-6DFD-46D7-F89B-17B79804FA80}"/>
              </a:ext>
            </a:extLst>
          </p:cNvPr>
          <p:cNvCxnSpPr>
            <a:cxnSpLocks/>
          </p:cNvCxnSpPr>
          <p:nvPr userDrawn="1"/>
        </p:nvCxnSpPr>
        <p:spPr>
          <a:xfrm flipH="1">
            <a:off x="3862594" y="4350427"/>
            <a:ext cx="739330" cy="455139"/>
          </a:xfrm>
          <a:prstGeom prst="line">
            <a:avLst/>
          </a:prstGeom>
          <a:ln w="38100">
            <a:solidFill>
              <a:srgbClr val="6FC2B4"/>
            </a:solidFill>
          </a:ln>
        </p:spPr>
        <p:style>
          <a:lnRef idx="1">
            <a:schemeClr val="accent2"/>
          </a:lnRef>
          <a:fillRef idx="0">
            <a:schemeClr val="accent2"/>
          </a:fillRef>
          <a:effectRef idx="0">
            <a:schemeClr val="accent2"/>
          </a:effectRef>
          <a:fontRef idx="minor">
            <a:schemeClr val="tx1"/>
          </a:fontRef>
        </p:style>
      </p:cxnSp>
      <p:cxnSp>
        <p:nvCxnSpPr>
          <p:cNvPr id="34" name="Straight Connector 33">
            <a:extLst>
              <a:ext uri="{FF2B5EF4-FFF2-40B4-BE49-F238E27FC236}">
                <a16:creationId xmlns:a16="http://schemas.microsoft.com/office/drawing/2014/main" id="{A37F3A08-B059-4E97-E843-0144911EE0AC}"/>
              </a:ext>
            </a:extLst>
          </p:cNvPr>
          <p:cNvCxnSpPr>
            <a:cxnSpLocks/>
          </p:cNvCxnSpPr>
          <p:nvPr userDrawn="1"/>
        </p:nvCxnSpPr>
        <p:spPr>
          <a:xfrm flipH="1" flipV="1">
            <a:off x="949888" y="4802818"/>
            <a:ext cx="2924044" cy="2748"/>
          </a:xfrm>
          <a:prstGeom prst="line">
            <a:avLst/>
          </a:prstGeom>
          <a:ln w="38100">
            <a:solidFill>
              <a:srgbClr val="6FC2B4"/>
            </a:solidFill>
          </a:ln>
        </p:spPr>
        <p:style>
          <a:lnRef idx="1">
            <a:schemeClr val="accent2"/>
          </a:lnRef>
          <a:fillRef idx="0">
            <a:schemeClr val="accent2"/>
          </a:fillRef>
          <a:effectRef idx="0">
            <a:schemeClr val="accent2"/>
          </a:effectRef>
          <a:fontRef idx="minor">
            <a:schemeClr val="tx1"/>
          </a:fontRef>
        </p:style>
      </p:cxnSp>
      <p:cxnSp>
        <p:nvCxnSpPr>
          <p:cNvPr id="35" name="Straight Connector 34">
            <a:extLst>
              <a:ext uri="{FF2B5EF4-FFF2-40B4-BE49-F238E27FC236}">
                <a16:creationId xmlns:a16="http://schemas.microsoft.com/office/drawing/2014/main" id="{4931B7D4-1893-4A43-E8A0-CDF42F6F5724}"/>
              </a:ext>
            </a:extLst>
          </p:cNvPr>
          <p:cNvCxnSpPr>
            <a:cxnSpLocks/>
          </p:cNvCxnSpPr>
          <p:nvPr userDrawn="1"/>
        </p:nvCxnSpPr>
        <p:spPr>
          <a:xfrm flipH="1" flipV="1">
            <a:off x="961068" y="1967532"/>
            <a:ext cx="2965340" cy="1"/>
          </a:xfrm>
          <a:prstGeom prst="line">
            <a:avLst/>
          </a:prstGeom>
          <a:ln w="38100">
            <a:solidFill>
              <a:srgbClr val="C4D60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E3B69AB-C522-162E-5D7C-912CF3283E76}"/>
              </a:ext>
            </a:extLst>
          </p:cNvPr>
          <p:cNvCxnSpPr>
            <a:cxnSpLocks/>
          </p:cNvCxnSpPr>
          <p:nvPr userDrawn="1"/>
        </p:nvCxnSpPr>
        <p:spPr>
          <a:xfrm flipH="1">
            <a:off x="7554359" y="1963081"/>
            <a:ext cx="1098351" cy="743952"/>
          </a:xfrm>
          <a:prstGeom prst="line">
            <a:avLst/>
          </a:prstGeom>
          <a:ln w="38100">
            <a:solidFill>
              <a:schemeClr val="accent3"/>
            </a:solidFill>
          </a:ln>
        </p:spPr>
        <p:style>
          <a:lnRef idx="1">
            <a:schemeClr val="accent2"/>
          </a:lnRef>
          <a:fillRef idx="0">
            <a:schemeClr val="accent2"/>
          </a:fillRef>
          <a:effectRef idx="0">
            <a:schemeClr val="accent2"/>
          </a:effectRef>
          <a:fontRef idx="minor">
            <a:schemeClr val="tx1"/>
          </a:fontRef>
        </p:style>
      </p:cxnSp>
      <p:cxnSp>
        <p:nvCxnSpPr>
          <p:cNvPr id="37" name="Straight Connector 36">
            <a:extLst>
              <a:ext uri="{FF2B5EF4-FFF2-40B4-BE49-F238E27FC236}">
                <a16:creationId xmlns:a16="http://schemas.microsoft.com/office/drawing/2014/main" id="{66D95A3D-70C6-2E3F-CA8B-013193D3A670}"/>
              </a:ext>
            </a:extLst>
          </p:cNvPr>
          <p:cNvCxnSpPr>
            <a:cxnSpLocks/>
          </p:cNvCxnSpPr>
          <p:nvPr userDrawn="1"/>
        </p:nvCxnSpPr>
        <p:spPr>
          <a:xfrm flipH="1" flipV="1">
            <a:off x="7789728" y="4254747"/>
            <a:ext cx="867969" cy="567802"/>
          </a:xfrm>
          <a:prstGeom prst="line">
            <a:avLst/>
          </a:prstGeom>
          <a:ln w="38100">
            <a:solidFill>
              <a:schemeClr val="accent5"/>
            </a:solidFill>
          </a:ln>
        </p:spPr>
        <p:style>
          <a:lnRef idx="1">
            <a:schemeClr val="accent2"/>
          </a:lnRef>
          <a:fillRef idx="0">
            <a:schemeClr val="accent2"/>
          </a:fillRef>
          <a:effectRef idx="0">
            <a:schemeClr val="accent2"/>
          </a:effectRef>
          <a:fontRef idx="minor">
            <a:schemeClr val="tx1"/>
          </a:fontRef>
        </p:style>
      </p:cxnSp>
      <p:cxnSp>
        <p:nvCxnSpPr>
          <p:cNvPr id="38" name="Straight Connector 37">
            <a:extLst>
              <a:ext uri="{FF2B5EF4-FFF2-40B4-BE49-F238E27FC236}">
                <a16:creationId xmlns:a16="http://schemas.microsoft.com/office/drawing/2014/main" id="{73CA7A6A-E295-A11C-52F6-346DB8E878DE}"/>
              </a:ext>
            </a:extLst>
          </p:cNvPr>
          <p:cNvCxnSpPr>
            <a:cxnSpLocks/>
          </p:cNvCxnSpPr>
          <p:nvPr userDrawn="1"/>
        </p:nvCxnSpPr>
        <p:spPr>
          <a:xfrm flipH="1">
            <a:off x="8643562" y="1953400"/>
            <a:ext cx="2753315" cy="13334"/>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044AE9E-C99E-ED93-1291-503FF6AB1EF1}"/>
              </a:ext>
            </a:extLst>
          </p:cNvPr>
          <p:cNvCxnSpPr>
            <a:cxnSpLocks/>
          </p:cNvCxnSpPr>
          <p:nvPr userDrawn="1"/>
        </p:nvCxnSpPr>
        <p:spPr>
          <a:xfrm flipH="1" flipV="1">
            <a:off x="8652709" y="4822550"/>
            <a:ext cx="2581648" cy="1"/>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CC918212-28C5-9F53-0E2D-821CC7B197DE}"/>
              </a:ext>
            </a:extLst>
          </p:cNvPr>
          <p:cNvSpPr txBox="1"/>
          <p:nvPr userDrawn="1"/>
        </p:nvSpPr>
        <p:spPr>
          <a:xfrm>
            <a:off x="5403365" y="5068422"/>
            <a:ext cx="1541391" cy="246221"/>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600" b="1" i="0" u="none" strike="noStrike" kern="0" cap="none" spc="0" normalizeH="0" baseline="0" noProof="0" dirty="0">
                <a:ln>
                  <a:noFill/>
                </a:ln>
                <a:solidFill>
                  <a:prstClr val="black"/>
                </a:solidFill>
                <a:effectLst/>
                <a:uLnTx/>
                <a:uFillTx/>
                <a:latin typeface="Aptos" panose="020B0004020202020204" pitchFamily="34" charset="0"/>
                <a:ea typeface="+mn-ea"/>
                <a:cs typeface="+mn-cs"/>
              </a:rPr>
              <a:t>Key Areas</a:t>
            </a:r>
          </a:p>
        </p:txBody>
      </p:sp>
      <p:sp>
        <p:nvSpPr>
          <p:cNvPr id="45" name="Oval 44">
            <a:extLst>
              <a:ext uri="{FF2B5EF4-FFF2-40B4-BE49-F238E27FC236}">
                <a16:creationId xmlns:a16="http://schemas.microsoft.com/office/drawing/2014/main" id="{F5F9D1A6-5B1F-18CE-3012-8C0199A2F18F}"/>
              </a:ext>
            </a:extLst>
          </p:cNvPr>
          <p:cNvSpPr/>
          <p:nvPr userDrawn="1"/>
        </p:nvSpPr>
        <p:spPr bwMode="gray">
          <a:xfrm>
            <a:off x="5428561" y="2932267"/>
            <a:ext cx="1741370" cy="1683754"/>
          </a:xfrm>
          <a:prstGeom prst="ellipse">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Aptos" panose="020B0004020202020204" pitchFamily="34" charset="0"/>
              <a:ea typeface="+mn-ea"/>
              <a:cs typeface="+mn-cs"/>
            </a:endParaRPr>
          </a:p>
        </p:txBody>
      </p:sp>
      <p:grpSp>
        <p:nvGrpSpPr>
          <p:cNvPr id="52" name="Group 345">
            <a:extLst>
              <a:ext uri="{FF2B5EF4-FFF2-40B4-BE49-F238E27FC236}">
                <a16:creationId xmlns:a16="http://schemas.microsoft.com/office/drawing/2014/main" id="{BC1CF26E-1D72-A375-3CCF-48A73A59F219}"/>
              </a:ext>
            </a:extLst>
          </p:cNvPr>
          <p:cNvGrpSpPr>
            <a:grpSpLocks noChangeAspect="1"/>
          </p:cNvGrpSpPr>
          <p:nvPr userDrawn="1"/>
        </p:nvGrpSpPr>
        <p:grpSpPr bwMode="auto">
          <a:xfrm>
            <a:off x="4658736" y="3910462"/>
            <a:ext cx="487411" cy="446787"/>
            <a:chOff x="3451" y="1171"/>
            <a:chExt cx="340" cy="340"/>
          </a:xfrm>
          <a:solidFill>
            <a:schemeClr val="tx1"/>
          </a:solidFill>
        </p:grpSpPr>
        <p:sp>
          <p:nvSpPr>
            <p:cNvPr id="53" name="Freeform 346">
              <a:extLst>
                <a:ext uri="{FF2B5EF4-FFF2-40B4-BE49-F238E27FC236}">
                  <a16:creationId xmlns:a16="http://schemas.microsoft.com/office/drawing/2014/main" id="{AD2D422F-4A8C-B6D4-5A1F-CFFB6976304B}"/>
                </a:ext>
              </a:extLst>
            </p:cNvPr>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54" name="Freeform 347">
              <a:extLst>
                <a:ext uri="{FF2B5EF4-FFF2-40B4-BE49-F238E27FC236}">
                  <a16:creationId xmlns:a16="http://schemas.microsoft.com/office/drawing/2014/main" id="{351FFED2-C66B-8097-3DD9-15E628560FE2}"/>
                </a:ext>
              </a:extLst>
            </p:cNvPr>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grpSp>
      <p:grpSp>
        <p:nvGrpSpPr>
          <p:cNvPr id="55" name="Group 108">
            <a:extLst>
              <a:ext uri="{FF2B5EF4-FFF2-40B4-BE49-F238E27FC236}">
                <a16:creationId xmlns:a16="http://schemas.microsoft.com/office/drawing/2014/main" id="{4E5BC064-7D44-6C67-A9AB-A7A6003A7ACB}"/>
              </a:ext>
            </a:extLst>
          </p:cNvPr>
          <p:cNvGrpSpPr>
            <a:grpSpLocks noChangeAspect="1"/>
          </p:cNvGrpSpPr>
          <p:nvPr userDrawn="1"/>
        </p:nvGrpSpPr>
        <p:grpSpPr bwMode="auto">
          <a:xfrm>
            <a:off x="7222847" y="3910459"/>
            <a:ext cx="486080" cy="446786"/>
            <a:chOff x="655" y="442"/>
            <a:chExt cx="340" cy="340"/>
          </a:xfrm>
          <a:solidFill>
            <a:schemeClr val="bg1"/>
          </a:solidFill>
        </p:grpSpPr>
        <p:sp>
          <p:nvSpPr>
            <p:cNvPr id="56" name="Freeform 109">
              <a:extLst>
                <a:ext uri="{FF2B5EF4-FFF2-40B4-BE49-F238E27FC236}">
                  <a16:creationId xmlns:a16="http://schemas.microsoft.com/office/drawing/2014/main" id="{30B0A136-FB7A-6E2A-E3E3-BB2082294B2B}"/>
                </a:ext>
              </a:extLst>
            </p:cNvPr>
            <p:cNvSpPr>
              <a:spLocks noEditPoints="1"/>
            </p:cNvSpPr>
            <p:nvPr/>
          </p:nvSpPr>
          <p:spPr bwMode="auto">
            <a:xfrm>
              <a:off x="655" y="44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57" name="Freeform 110">
              <a:extLst>
                <a:ext uri="{FF2B5EF4-FFF2-40B4-BE49-F238E27FC236}">
                  <a16:creationId xmlns:a16="http://schemas.microsoft.com/office/drawing/2014/main" id="{C509346D-CFF0-0781-71F2-D90159486142}"/>
                </a:ext>
              </a:extLst>
            </p:cNvPr>
            <p:cNvSpPr>
              <a:spLocks noEditPoints="1"/>
            </p:cNvSpPr>
            <p:nvPr/>
          </p:nvSpPr>
          <p:spPr bwMode="auto">
            <a:xfrm>
              <a:off x="718" y="505"/>
              <a:ext cx="213" cy="185"/>
            </a:xfrm>
            <a:custGeom>
              <a:avLst/>
              <a:gdLst>
                <a:gd name="T0" fmla="*/ 318 w 321"/>
                <a:gd name="T1" fmla="*/ 79 h 278"/>
                <a:gd name="T2" fmla="*/ 254 w 321"/>
                <a:gd name="T3" fmla="*/ 4 h 278"/>
                <a:gd name="T4" fmla="*/ 243 w 321"/>
                <a:gd name="T5" fmla="*/ 1 h 278"/>
                <a:gd name="T6" fmla="*/ 8 w 321"/>
                <a:gd name="T7" fmla="*/ 76 h 278"/>
                <a:gd name="T8" fmla="*/ 1 w 321"/>
                <a:gd name="T9" fmla="*/ 88 h 278"/>
                <a:gd name="T10" fmla="*/ 11 w 321"/>
                <a:gd name="T11" fmla="*/ 97 h 278"/>
                <a:gd name="T12" fmla="*/ 43 w 321"/>
                <a:gd name="T13" fmla="*/ 97 h 278"/>
                <a:gd name="T14" fmla="*/ 43 w 321"/>
                <a:gd name="T15" fmla="*/ 139 h 278"/>
                <a:gd name="T16" fmla="*/ 11 w 321"/>
                <a:gd name="T17" fmla="*/ 139 h 278"/>
                <a:gd name="T18" fmla="*/ 1 w 321"/>
                <a:gd name="T19" fmla="*/ 150 h 278"/>
                <a:gd name="T20" fmla="*/ 1 w 321"/>
                <a:gd name="T21" fmla="*/ 203 h 278"/>
                <a:gd name="T22" fmla="*/ 11 w 321"/>
                <a:gd name="T23" fmla="*/ 214 h 278"/>
                <a:gd name="T24" fmla="*/ 97 w 321"/>
                <a:gd name="T25" fmla="*/ 214 h 278"/>
                <a:gd name="T26" fmla="*/ 107 w 321"/>
                <a:gd name="T27" fmla="*/ 203 h 278"/>
                <a:gd name="T28" fmla="*/ 107 w 321"/>
                <a:gd name="T29" fmla="*/ 150 h 278"/>
                <a:gd name="T30" fmla="*/ 97 w 321"/>
                <a:gd name="T31" fmla="*/ 139 h 278"/>
                <a:gd name="T32" fmla="*/ 65 w 321"/>
                <a:gd name="T33" fmla="*/ 139 h 278"/>
                <a:gd name="T34" fmla="*/ 65 w 321"/>
                <a:gd name="T35" fmla="*/ 97 h 278"/>
                <a:gd name="T36" fmla="*/ 214 w 321"/>
                <a:gd name="T37" fmla="*/ 97 h 278"/>
                <a:gd name="T38" fmla="*/ 214 w 321"/>
                <a:gd name="T39" fmla="*/ 257 h 278"/>
                <a:gd name="T40" fmla="*/ 33 w 321"/>
                <a:gd name="T41" fmla="*/ 257 h 278"/>
                <a:gd name="T42" fmla="*/ 22 w 321"/>
                <a:gd name="T43" fmla="*/ 267 h 278"/>
                <a:gd name="T44" fmla="*/ 33 w 321"/>
                <a:gd name="T45" fmla="*/ 278 h 278"/>
                <a:gd name="T46" fmla="*/ 289 w 321"/>
                <a:gd name="T47" fmla="*/ 278 h 278"/>
                <a:gd name="T48" fmla="*/ 299 w 321"/>
                <a:gd name="T49" fmla="*/ 267 h 278"/>
                <a:gd name="T50" fmla="*/ 289 w 321"/>
                <a:gd name="T51" fmla="*/ 257 h 278"/>
                <a:gd name="T52" fmla="*/ 289 w 321"/>
                <a:gd name="T53" fmla="*/ 97 h 278"/>
                <a:gd name="T54" fmla="*/ 310 w 321"/>
                <a:gd name="T55" fmla="*/ 97 h 278"/>
                <a:gd name="T56" fmla="*/ 320 w 321"/>
                <a:gd name="T57" fmla="*/ 90 h 278"/>
                <a:gd name="T58" fmla="*/ 318 w 321"/>
                <a:gd name="T59" fmla="*/ 79 h 278"/>
                <a:gd name="T60" fmla="*/ 86 w 321"/>
                <a:gd name="T61" fmla="*/ 161 h 278"/>
                <a:gd name="T62" fmla="*/ 86 w 321"/>
                <a:gd name="T63" fmla="*/ 193 h 278"/>
                <a:gd name="T64" fmla="*/ 22 w 321"/>
                <a:gd name="T65" fmla="*/ 193 h 278"/>
                <a:gd name="T66" fmla="*/ 22 w 321"/>
                <a:gd name="T67" fmla="*/ 161 h 278"/>
                <a:gd name="T68" fmla="*/ 86 w 321"/>
                <a:gd name="T69" fmla="*/ 161 h 278"/>
                <a:gd name="T70" fmla="*/ 257 w 321"/>
                <a:gd name="T71" fmla="*/ 75 h 278"/>
                <a:gd name="T72" fmla="*/ 257 w 321"/>
                <a:gd name="T73" fmla="*/ 40 h 278"/>
                <a:gd name="T74" fmla="*/ 287 w 321"/>
                <a:gd name="T75" fmla="*/ 75 h 278"/>
                <a:gd name="T76" fmla="*/ 257 w 321"/>
                <a:gd name="T77" fmla="*/ 75 h 278"/>
                <a:gd name="T78" fmla="*/ 235 w 321"/>
                <a:gd name="T79" fmla="*/ 26 h 278"/>
                <a:gd name="T80" fmla="*/ 235 w 321"/>
                <a:gd name="T81" fmla="*/ 75 h 278"/>
                <a:gd name="T82" fmla="*/ 80 w 321"/>
                <a:gd name="T83" fmla="*/ 75 h 278"/>
                <a:gd name="T84" fmla="*/ 235 w 321"/>
                <a:gd name="T85" fmla="*/ 26 h 278"/>
                <a:gd name="T86" fmla="*/ 267 w 321"/>
                <a:gd name="T87" fmla="*/ 178 h 278"/>
                <a:gd name="T88" fmla="*/ 235 w 321"/>
                <a:gd name="T89" fmla="*/ 217 h 278"/>
                <a:gd name="T90" fmla="*/ 235 w 321"/>
                <a:gd name="T91" fmla="*/ 175 h 278"/>
                <a:gd name="T92" fmla="*/ 267 w 321"/>
                <a:gd name="T93" fmla="*/ 137 h 278"/>
                <a:gd name="T94" fmla="*/ 267 w 321"/>
                <a:gd name="T95" fmla="*/ 178 h 278"/>
                <a:gd name="T96" fmla="*/ 235 w 321"/>
                <a:gd name="T97" fmla="*/ 257 h 278"/>
                <a:gd name="T98" fmla="*/ 235 w 321"/>
                <a:gd name="T99" fmla="*/ 250 h 278"/>
                <a:gd name="T100" fmla="*/ 267 w 321"/>
                <a:gd name="T101" fmla="*/ 211 h 278"/>
                <a:gd name="T102" fmla="*/ 267 w 321"/>
                <a:gd name="T103" fmla="*/ 257 h 278"/>
                <a:gd name="T104" fmla="*/ 235 w 321"/>
                <a:gd name="T105" fmla="*/ 257 h 278"/>
                <a:gd name="T106" fmla="*/ 267 w 321"/>
                <a:gd name="T107" fmla="*/ 103 h 278"/>
                <a:gd name="T108" fmla="*/ 235 w 321"/>
                <a:gd name="T109" fmla="*/ 142 h 278"/>
                <a:gd name="T110" fmla="*/ 235 w 321"/>
                <a:gd name="T111" fmla="*/ 97 h 278"/>
                <a:gd name="T112" fmla="*/ 267 w 321"/>
                <a:gd name="T113" fmla="*/ 97 h 278"/>
                <a:gd name="T114" fmla="*/ 267 w 321"/>
                <a:gd name="T115" fmla="*/ 10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1" h="278">
                  <a:moveTo>
                    <a:pt x="318" y="79"/>
                  </a:moveTo>
                  <a:cubicBezTo>
                    <a:pt x="254" y="4"/>
                    <a:pt x="254" y="4"/>
                    <a:pt x="254" y="4"/>
                  </a:cubicBezTo>
                  <a:cubicBezTo>
                    <a:pt x="251" y="1"/>
                    <a:pt x="247" y="0"/>
                    <a:pt x="243" y="1"/>
                  </a:cubicBezTo>
                  <a:cubicBezTo>
                    <a:pt x="8" y="76"/>
                    <a:pt x="8" y="76"/>
                    <a:pt x="8" y="76"/>
                  </a:cubicBezTo>
                  <a:cubicBezTo>
                    <a:pt x="3" y="77"/>
                    <a:pt x="0" y="82"/>
                    <a:pt x="1" y="88"/>
                  </a:cubicBezTo>
                  <a:cubicBezTo>
                    <a:pt x="2" y="93"/>
                    <a:pt x="6" y="97"/>
                    <a:pt x="11" y="97"/>
                  </a:cubicBezTo>
                  <a:cubicBezTo>
                    <a:pt x="43" y="97"/>
                    <a:pt x="43" y="97"/>
                    <a:pt x="43" y="97"/>
                  </a:cubicBezTo>
                  <a:cubicBezTo>
                    <a:pt x="43" y="139"/>
                    <a:pt x="43" y="139"/>
                    <a:pt x="43" y="139"/>
                  </a:cubicBezTo>
                  <a:cubicBezTo>
                    <a:pt x="11" y="139"/>
                    <a:pt x="11" y="139"/>
                    <a:pt x="11" y="139"/>
                  </a:cubicBezTo>
                  <a:cubicBezTo>
                    <a:pt x="5" y="139"/>
                    <a:pt x="1" y="144"/>
                    <a:pt x="1" y="150"/>
                  </a:cubicBezTo>
                  <a:cubicBezTo>
                    <a:pt x="1" y="203"/>
                    <a:pt x="1" y="203"/>
                    <a:pt x="1" y="203"/>
                  </a:cubicBezTo>
                  <a:cubicBezTo>
                    <a:pt x="1" y="209"/>
                    <a:pt x="5" y="214"/>
                    <a:pt x="11" y="214"/>
                  </a:cubicBezTo>
                  <a:cubicBezTo>
                    <a:pt x="97" y="214"/>
                    <a:pt x="97" y="214"/>
                    <a:pt x="97" y="214"/>
                  </a:cubicBezTo>
                  <a:cubicBezTo>
                    <a:pt x="103" y="214"/>
                    <a:pt x="107" y="209"/>
                    <a:pt x="107" y="203"/>
                  </a:cubicBezTo>
                  <a:cubicBezTo>
                    <a:pt x="107" y="150"/>
                    <a:pt x="107" y="150"/>
                    <a:pt x="107" y="150"/>
                  </a:cubicBezTo>
                  <a:cubicBezTo>
                    <a:pt x="107" y="144"/>
                    <a:pt x="103" y="139"/>
                    <a:pt x="97" y="139"/>
                  </a:cubicBezTo>
                  <a:cubicBezTo>
                    <a:pt x="65" y="139"/>
                    <a:pt x="65" y="139"/>
                    <a:pt x="65" y="139"/>
                  </a:cubicBezTo>
                  <a:cubicBezTo>
                    <a:pt x="65" y="97"/>
                    <a:pt x="65" y="97"/>
                    <a:pt x="65" y="97"/>
                  </a:cubicBezTo>
                  <a:cubicBezTo>
                    <a:pt x="214" y="97"/>
                    <a:pt x="214" y="97"/>
                    <a:pt x="214" y="97"/>
                  </a:cubicBezTo>
                  <a:cubicBezTo>
                    <a:pt x="214" y="257"/>
                    <a:pt x="214" y="257"/>
                    <a:pt x="214" y="257"/>
                  </a:cubicBezTo>
                  <a:cubicBezTo>
                    <a:pt x="33" y="257"/>
                    <a:pt x="33" y="257"/>
                    <a:pt x="33" y="257"/>
                  </a:cubicBezTo>
                  <a:cubicBezTo>
                    <a:pt x="27" y="257"/>
                    <a:pt x="22" y="261"/>
                    <a:pt x="22" y="267"/>
                  </a:cubicBezTo>
                  <a:cubicBezTo>
                    <a:pt x="22" y="273"/>
                    <a:pt x="27" y="278"/>
                    <a:pt x="33" y="278"/>
                  </a:cubicBezTo>
                  <a:cubicBezTo>
                    <a:pt x="289" y="278"/>
                    <a:pt x="289" y="278"/>
                    <a:pt x="289" y="278"/>
                  </a:cubicBezTo>
                  <a:cubicBezTo>
                    <a:pt x="295" y="278"/>
                    <a:pt x="299" y="273"/>
                    <a:pt x="299" y="267"/>
                  </a:cubicBezTo>
                  <a:cubicBezTo>
                    <a:pt x="299" y="261"/>
                    <a:pt x="295" y="257"/>
                    <a:pt x="289" y="257"/>
                  </a:cubicBezTo>
                  <a:cubicBezTo>
                    <a:pt x="289" y="97"/>
                    <a:pt x="289" y="97"/>
                    <a:pt x="289" y="97"/>
                  </a:cubicBezTo>
                  <a:cubicBezTo>
                    <a:pt x="310" y="97"/>
                    <a:pt x="310" y="97"/>
                    <a:pt x="310" y="97"/>
                  </a:cubicBezTo>
                  <a:cubicBezTo>
                    <a:pt x="314" y="97"/>
                    <a:pt x="318" y="94"/>
                    <a:pt x="320" y="90"/>
                  </a:cubicBezTo>
                  <a:cubicBezTo>
                    <a:pt x="321" y="87"/>
                    <a:pt x="321" y="82"/>
                    <a:pt x="318" y="79"/>
                  </a:cubicBezTo>
                  <a:close/>
                  <a:moveTo>
                    <a:pt x="86" y="161"/>
                  </a:moveTo>
                  <a:cubicBezTo>
                    <a:pt x="86" y="193"/>
                    <a:pt x="86" y="193"/>
                    <a:pt x="86" y="193"/>
                  </a:cubicBezTo>
                  <a:cubicBezTo>
                    <a:pt x="22" y="193"/>
                    <a:pt x="22" y="193"/>
                    <a:pt x="22" y="193"/>
                  </a:cubicBezTo>
                  <a:cubicBezTo>
                    <a:pt x="22" y="161"/>
                    <a:pt x="22" y="161"/>
                    <a:pt x="22" y="161"/>
                  </a:cubicBezTo>
                  <a:lnTo>
                    <a:pt x="86" y="161"/>
                  </a:lnTo>
                  <a:close/>
                  <a:moveTo>
                    <a:pt x="257" y="75"/>
                  </a:moveTo>
                  <a:cubicBezTo>
                    <a:pt x="257" y="40"/>
                    <a:pt x="257" y="40"/>
                    <a:pt x="257" y="40"/>
                  </a:cubicBezTo>
                  <a:cubicBezTo>
                    <a:pt x="287" y="75"/>
                    <a:pt x="287" y="75"/>
                    <a:pt x="287" y="75"/>
                  </a:cubicBezTo>
                  <a:lnTo>
                    <a:pt x="257" y="75"/>
                  </a:lnTo>
                  <a:close/>
                  <a:moveTo>
                    <a:pt x="235" y="26"/>
                  </a:moveTo>
                  <a:cubicBezTo>
                    <a:pt x="235" y="75"/>
                    <a:pt x="235" y="75"/>
                    <a:pt x="235" y="75"/>
                  </a:cubicBezTo>
                  <a:cubicBezTo>
                    <a:pt x="80" y="75"/>
                    <a:pt x="80" y="75"/>
                    <a:pt x="80" y="75"/>
                  </a:cubicBezTo>
                  <a:lnTo>
                    <a:pt x="235" y="26"/>
                  </a:lnTo>
                  <a:close/>
                  <a:moveTo>
                    <a:pt x="267" y="178"/>
                  </a:moveTo>
                  <a:cubicBezTo>
                    <a:pt x="235" y="217"/>
                    <a:pt x="235" y="217"/>
                    <a:pt x="235" y="217"/>
                  </a:cubicBezTo>
                  <a:cubicBezTo>
                    <a:pt x="235" y="175"/>
                    <a:pt x="235" y="175"/>
                    <a:pt x="235" y="175"/>
                  </a:cubicBezTo>
                  <a:cubicBezTo>
                    <a:pt x="267" y="137"/>
                    <a:pt x="267" y="137"/>
                    <a:pt x="267" y="137"/>
                  </a:cubicBezTo>
                  <a:lnTo>
                    <a:pt x="267" y="178"/>
                  </a:lnTo>
                  <a:close/>
                  <a:moveTo>
                    <a:pt x="235" y="257"/>
                  </a:moveTo>
                  <a:cubicBezTo>
                    <a:pt x="235" y="250"/>
                    <a:pt x="235" y="250"/>
                    <a:pt x="235" y="250"/>
                  </a:cubicBezTo>
                  <a:cubicBezTo>
                    <a:pt x="267" y="211"/>
                    <a:pt x="267" y="211"/>
                    <a:pt x="267" y="211"/>
                  </a:cubicBezTo>
                  <a:cubicBezTo>
                    <a:pt x="267" y="257"/>
                    <a:pt x="267" y="257"/>
                    <a:pt x="267" y="257"/>
                  </a:cubicBezTo>
                  <a:lnTo>
                    <a:pt x="235" y="257"/>
                  </a:lnTo>
                  <a:close/>
                  <a:moveTo>
                    <a:pt x="267" y="103"/>
                  </a:moveTo>
                  <a:cubicBezTo>
                    <a:pt x="235" y="142"/>
                    <a:pt x="235" y="142"/>
                    <a:pt x="235" y="142"/>
                  </a:cubicBezTo>
                  <a:cubicBezTo>
                    <a:pt x="235" y="97"/>
                    <a:pt x="235" y="97"/>
                    <a:pt x="235" y="97"/>
                  </a:cubicBezTo>
                  <a:cubicBezTo>
                    <a:pt x="267" y="97"/>
                    <a:pt x="267" y="97"/>
                    <a:pt x="267" y="97"/>
                  </a:cubicBezTo>
                  <a:lnTo>
                    <a:pt x="267" y="10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grpSp>
      <p:sp>
        <p:nvSpPr>
          <p:cNvPr id="4" name="Content Placeholder 3">
            <a:extLst>
              <a:ext uri="{FF2B5EF4-FFF2-40B4-BE49-F238E27FC236}">
                <a16:creationId xmlns:a16="http://schemas.microsoft.com/office/drawing/2014/main" id="{AA44F49E-0D44-D510-3E22-BDCBDD863C6A}"/>
              </a:ext>
            </a:extLst>
          </p:cNvPr>
          <p:cNvSpPr>
            <a:spLocks noGrp="1"/>
          </p:cNvSpPr>
          <p:nvPr>
            <p:ph type="body" sz="quarter" idx="21" hasCustomPrompt="1"/>
          </p:nvPr>
        </p:nvSpPr>
        <p:spPr>
          <a:xfrm>
            <a:off x="949888" y="1713647"/>
            <a:ext cx="3116648" cy="1736312"/>
          </a:xfrm>
        </p:spPr>
        <p:txBody>
          <a:bodyPr/>
          <a:lstStyle>
            <a:lvl1pPr>
              <a:defRPr>
                <a:latin typeface="Aptos" panose="020B0004020202020204" pitchFamily="34" charset="0"/>
              </a:defRPr>
            </a:lvl1pPr>
            <a:lvl2pPr>
              <a:defRPr>
                <a:latin typeface="Aptos" panose="020B0004020202020204" pitchFamily="34" charset="0"/>
              </a:defRPr>
            </a:lvl2pPr>
            <a:lvl3pPr>
              <a:defRPr sz="1200">
                <a:latin typeface="Aptos" panose="020B0004020202020204" pitchFamily="34" charset="0"/>
              </a:defRPr>
            </a:lvl3pPr>
            <a:lvl4pPr>
              <a:defRPr sz="1200">
                <a:latin typeface="Aptos" panose="020B0004020202020204" pitchFamily="34" charset="0"/>
              </a:defRPr>
            </a:lvl4pPr>
            <a:lvl5pPr>
              <a:defRPr sz="1200">
                <a:latin typeface="Aptos" panose="020B0004020202020204" pitchFamily="34" charset="0"/>
              </a:defRPr>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a:extLst>
              <a:ext uri="{FF2B5EF4-FFF2-40B4-BE49-F238E27FC236}">
                <a16:creationId xmlns:a16="http://schemas.microsoft.com/office/drawing/2014/main" id="{98151137-A6BA-9B81-D0F1-F30C18A5FF72}"/>
              </a:ext>
            </a:extLst>
          </p:cNvPr>
          <p:cNvSpPr>
            <a:spLocks noGrp="1"/>
          </p:cNvSpPr>
          <p:nvPr>
            <p:ph type="body" sz="quarter" idx="22" hasCustomPrompt="1"/>
          </p:nvPr>
        </p:nvSpPr>
        <p:spPr>
          <a:xfrm>
            <a:off x="988442" y="4523098"/>
            <a:ext cx="3364298" cy="1982057"/>
          </a:xfrm>
        </p:spPr>
        <p:txBody>
          <a:bodyPr/>
          <a:lstStyle>
            <a:lvl1pPr>
              <a:defRPr>
                <a:latin typeface="Aptos" panose="020B0004020202020204" pitchFamily="34" charset="0"/>
              </a:defRPr>
            </a:lvl1pPr>
            <a:lvl2pPr>
              <a:defRPr>
                <a:latin typeface="Aptos" panose="020B0004020202020204" pitchFamily="34" charset="0"/>
              </a:defRPr>
            </a:lvl2pPr>
            <a:lvl3pPr>
              <a:defRPr sz="1200">
                <a:latin typeface="Aptos" panose="020B0004020202020204" pitchFamily="34" charset="0"/>
              </a:defRPr>
            </a:lvl3pPr>
            <a:lvl4pPr>
              <a:defRPr sz="1200">
                <a:latin typeface="Aptos" panose="020B0004020202020204" pitchFamily="34" charset="0"/>
              </a:defRPr>
            </a:lvl4pPr>
            <a:lvl5pPr>
              <a:defRPr sz="1200">
                <a:latin typeface="Aptos" panose="020B0004020202020204" pitchFamily="34" charset="0"/>
              </a:defRPr>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9">
            <a:extLst>
              <a:ext uri="{FF2B5EF4-FFF2-40B4-BE49-F238E27FC236}">
                <a16:creationId xmlns:a16="http://schemas.microsoft.com/office/drawing/2014/main" id="{27931339-6131-DE03-E683-9E41DCCE7B99}"/>
              </a:ext>
            </a:extLst>
          </p:cNvPr>
          <p:cNvSpPr>
            <a:spLocks noGrp="1"/>
          </p:cNvSpPr>
          <p:nvPr>
            <p:ph type="body" sz="quarter" idx="23" hasCustomPrompt="1"/>
          </p:nvPr>
        </p:nvSpPr>
        <p:spPr>
          <a:xfrm>
            <a:off x="8776431" y="1713647"/>
            <a:ext cx="3336322" cy="1925637"/>
          </a:xfrm>
        </p:spPr>
        <p:txBody>
          <a:bodyPr/>
          <a:lstStyle>
            <a:lvl1pPr>
              <a:defRPr>
                <a:latin typeface="Aptos" panose="020B0004020202020204" pitchFamily="34" charset="0"/>
              </a:defRPr>
            </a:lvl1pPr>
            <a:lvl2pPr>
              <a:defRPr>
                <a:latin typeface="Aptos" panose="020B0004020202020204" pitchFamily="34" charset="0"/>
              </a:defRPr>
            </a:lvl2pPr>
            <a:lvl3pPr>
              <a:defRPr sz="1200">
                <a:latin typeface="Aptos" panose="020B0004020202020204" pitchFamily="34" charset="0"/>
              </a:defRPr>
            </a:lvl3pPr>
            <a:lvl4pPr>
              <a:defRPr sz="1200">
                <a:latin typeface="Aptos" panose="020B0004020202020204" pitchFamily="34" charset="0"/>
              </a:defRPr>
            </a:lvl4pPr>
            <a:lvl5pPr>
              <a:defRPr sz="1200">
                <a:latin typeface="Aptos" panose="020B0004020202020204" pitchFamily="34" charset="0"/>
              </a:defRPr>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12">
            <a:extLst>
              <a:ext uri="{FF2B5EF4-FFF2-40B4-BE49-F238E27FC236}">
                <a16:creationId xmlns:a16="http://schemas.microsoft.com/office/drawing/2014/main" id="{933D7D3E-54EB-7FA2-FE5E-6D18FC207A44}"/>
              </a:ext>
            </a:extLst>
          </p:cNvPr>
          <p:cNvSpPr>
            <a:spLocks noGrp="1"/>
          </p:cNvSpPr>
          <p:nvPr>
            <p:ph type="body" sz="quarter" idx="24" hasCustomPrompt="1"/>
          </p:nvPr>
        </p:nvSpPr>
        <p:spPr>
          <a:xfrm>
            <a:off x="8690066" y="4616022"/>
            <a:ext cx="3335337" cy="1590378"/>
          </a:xfrm>
        </p:spPr>
        <p:txBody>
          <a:bodyPr/>
          <a:lstStyle>
            <a:lvl1pPr>
              <a:defRPr>
                <a:latin typeface="Aptos" panose="020B0004020202020204" pitchFamily="34" charset="0"/>
              </a:defRPr>
            </a:lvl1pPr>
            <a:lvl2pPr>
              <a:defRPr>
                <a:latin typeface="Aptos" panose="020B0004020202020204" pitchFamily="34" charset="0"/>
              </a:defRPr>
            </a:lvl2pPr>
            <a:lvl3pPr>
              <a:defRPr sz="1200">
                <a:latin typeface="Aptos" panose="020B0004020202020204" pitchFamily="34" charset="0"/>
              </a:defRPr>
            </a:lvl3pPr>
            <a:lvl4pPr>
              <a:defRPr sz="1200">
                <a:latin typeface="Aptos" panose="020B0004020202020204" pitchFamily="34" charset="0"/>
              </a:defRPr>
            </a:lvl4pPr>
            <a:lvl5pPr>
              <a:defRPr sz="1200">
                <a:latin typeface="Aptos" panose="020B0004020202020204" pitchFamily="34" charset="0"/>
              </a:defRPr>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2" name="TextBox 1">
            <a:extLst>
              <a:ext uri="{FF2B5EF4-FFF2-40B4-BE49-F238E27FC236}">
                <a16:creationId xmlns:a16="http://schemas.microsoft.com/office/drawing/2014/main" id="{8CC339CB-3BD0-1D75-7FEF-D0709A2EC8AB}"/>
              </a:ext>
            </a:extLst>
          </p:cNvPr>
          <p:cNvSpPr txBox="1"/>
          <p:nvPr userDrawn="1"/>
        </p:nvSpPr>
        <p:spPr>
          <a:xfrm>
            <a:off x="9818297" y="172023"/>
            <a:ext cx="1872051" cy="276999"/>
          </a:xfrm>
          <a:prstGeom prst="rect">
            <a:avLst/>
          </a:prstGeom>
          <a:noFill/>
          <a:ln w="28575">
            <a:noFill/>
          </a:ln>
        </p:spPr>
        <p:txBody>
          <a:bodyPr wrap="none" lIns="0" tIns="0" rIns="0" bIns="0" rtlCol="0">
            <a:spAutoFit/>
          </a:bodyPr>
          <a:lstStyle/>
          <a:p>
            <a:pPr marL="0" indent="0">
              <a:spcBef>
                <a:spcPts val="600"/>
              </a:spcBef>
              <a:buSzPct val="100000"/>
              <a:buFont typeface="Arial"/>
              <a:buNone/>
            </a:pPr>
            <a:r>
              <a:rPr lang="en-US" b="1" dirty="0">
                <a:solidFill>
                  <a:srgbClr val="FF0000"/>
                </a:solidFill>
              </a:rPr>
              <a:t>AI Generated Draft</a:t>
            </a:r>
          </a:p>
        </p:txBody>
      </p:sp>
    </p:spTree>
    <p:extLst>
      <p:ext uri="{BB962C8B-B14F-4D97-AF65-F5344CB8AC3E}">
        <p14:creationId xmlns:p14="http://schemas.microsoft.com/office/powerpoint/2010/main" val="2067937343"/>
      </p:ext>
    </p:extLst>
  </p:cSld>
  <p:clrMapOvr>
    <a:masterClrMapping/>
  </p:clrMapOvr>
  <p:transition>
    <p:fade/>
  </p:transition>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7_2 columns of text">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08039D01-A301-2B72-B727-8E8168FBBF0E}"/>
              </a:ext>
            </a:extLst>
          </p:cNvPr>
          <p:cNvSpPr>
            <a:spLocks noGrp="1"/>
          </p:cNvSpPr>
          <p:nvPr>
            <p:ph type="body" sz="quarter" idx="22" hasCustomPrompt="1"/>
          </p:nvPr>
        </p:nvSpPr>
        <p:spPr>
          <a:xfrm>
            <a:off x="684813" y="3621544"/>
            <a:ext cx="3265511" cy="1130300"/>
          </a:xfrm>
        </p:spPr>
        <p:txBody>
          <a:bodyPr/>
          <a:lstStyle>
            <a:lvl3pPr>
              <a:defRPr sz="1200"/>
            </a:lvl3pPr>
            <a:lvl4pPr>
              <a:defRPr sz="1200"/>
            </a:lvl4pPr>
            <a:lvl5pPr>
              <a:defRPr sz="1200"/>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8">
            <a:extLst>
              <a:ext uri="{FF2B5EF4-FFF2-40B4-BE49-F238E27FC236}">
                <a16:creationId xmlns:a16="http://schemas.microsoft.com/office/drawing/2014/main" id="{D58FF0B8-12F4-41CE-AD69-DD52D41C8BBD}"/>
              </a:ext>
            </a:extLst>
          </p:cNvPr>
          <p:cNvSpPr>
            <a:spLocks noGrp="1"/>
          </p:cNvSpPr>
          <p:nvPr>
            <p:ph type="body" sz="quarter" idx="13" hasCustomPrompt="1"/>
          </p:nvPr>
        </p:nvSpPr>
        <p:spPr>
          <a:xfrm>
            <a:off x="501650" y="651601"/>
            <a:ext cx="11188700" cy="334100"/>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565F50C2-3A2B-43F6-97B9-A4F3EF05E45A}"/>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cxnSp>
        <p:nvCxnSpPr>
          <p:cNvPr id="10" name="Straight Connector 9">
            <a:extLst>
              <a:ext uri="{FF2B5EF4-FFF2-40B4-BE49-F238E27FC236}">
                <a16:creationId xmlns:a16="http://schemas.microsoft.com/office/drawing/2014/main" id="{A9E2CF82-FC80-DD87-42FD-0FA139179F5B}"/>
              </a:ext>
            </a:extLst>
          </p:cNvPr>
          <p:cNvCxnSpPr/>
          <p:nvPr userDrawn="1"/>
        </p:nvCxnSpPr>
        <p:spPr>
          <a:xfrm flipH="1">
            <a:off x="7386182" y="2787797"/>
            <a:ext cx="3666261" cy="1"/>
          </a:xfrm>
          <a:prstGeom prst="line">
            <a:avLst/>
          </a:prstGeom>
          <a:noFill/>
          <a:ln w="19050" cap="flat" cmpd="sng" algn="ctr">
            <a:solidFill>
              <a:schemeClr val="accent1"/>
            </a:solidFill>
            <a:prstDash val="solid"/>
            <a:miter lim="800000"/>
          </a:ln>
          <a:effectLst/>
        </p:spPr>
      </p:cxnSp>
      <p:cxnSp>
        <p:nvCxnSpPr>
          <p:cNvPr id="12" name="Straight Connector 11">
            <a:extLst>
              <a:ext uri="{FF2B5EF4-FFF2-40B4-BE49-F238E27FC236}">
                <a16:creationId xmlns:a16="http://schemas.microsoft.com/office/drawing/2014/main" id="{6C784A5B-EF47-EE93-AF85-BE1833E668F1}"/>
              </a:ext>
            </a:extLst>
          </p:cNvPr>
          <p:cNvCxnSpPr/>
          <p:nvPr userDrawn="1"/>
        </p:nvCxnSpPr>
        <p:spPr>
          <a:xfrm flipH="1">
            <a:off x="7386182" y="4569738"/>
            <a:ext cx="3666261" cy="1"/>
          </a:xfrm>
          <a:prstGeom prst="line">
            <a:avLst/>
          </a:prstGeom>
          <a:noFill/>
          <a:ln w="19050" cap="flat" cmpd="sng" algn="ctr">
            <a:solidFill>
              <a:schemeClr val="accent1"/>
            </a:solidFill>
            <a:prstDash val="solid"/>
            <a:miter lim="800000"/>
          </a:ln>
          <a:effectLst/>
        </p:spPr>
      </p:cxnSp>
      <p:grpSp>
        <p:nvGrpSpPr>
          <p:cNvPr id="15" name="Group 14">
            <a:extLst>
              <a:ext uri="{FF2B5EF4-FFF2-40B4-BE49-F238E27FC236}">
                <a16:creationId xmlns:a16="http://schemas.microsoft.com/office/drawing/2014/main" id="{0A82037E-A424-357A-89C1-B7323B596451}"/>
              </a:ext>
            </a:extLst>
          </p:cNvPr>
          <p:cNvGrpSpPr/>
          <p:nvPr userDrawn="1"/>
        </p:nvGrpSpPr>
        <p:grpSpPr>
          <a:xfrm>
            <a:off x="684813" y="2391249"/>
            <a:ext cx="4704922" cy="2912099"/>
            <a:chOff x="127504" y="2150934"/>
            <a:chExt cx="5243774" cy="3119833"/>
          </a:xfrm>
        </p:grpSpPr>
        <p:cxnSp>
          <p:nvCxnSpPr>
            <p:cNvPr id="16" name="Straight Connector 15">
              <a:extLst>
                <a:ext uri="{FF2B5EF4-FFF2-40B4-BE49-F238E27FC236}">
                  <a16:creationId xmlns:a16="http://schemas.microsoft.com/office/drawing/2014/main" id="{C6EBA2B7-79E8-770B-B696-E1C5112B3EB6}"/>
                </a:ext>
              </a:extLst>
            </p:cNvPr>
            <p:cNvCxnSpPr>
              <a:cxnSpLocks/>
            </p:cNvCxnSpPr>
            <p:nvPr/>
          </p:nvCxnSpPr>
          <p:spPr>
            <a:xfrm flipH="1">
              <a:off x="127504" y="2150934"/>
              <a:ext cx="5243774" cy="0"/>
            </a:xfrm>
            <a:prstGeom prst="line">
              <a:avLst/>
            </a:prstGeom>
            <a:noFill/>
            <a:ln w="19050" cap="flat" cmpd="sng" algn="ctr">
              <a:solidFill>
                <a:schemeClr val="accent1"/>
              </a:solidFill>
              <a:prstDash val="solid"/>
              <a:miter lim="800000"/>
            </a:ln>
            <a:effectLst/>
          </p:spPr>
        </p:cxnSp>
        <p:cxnSp>
          <p:nvCxnSpPr>
            <p:cNvPr id="58" name="Straight Connector 57">
              <a:extLst>
                <a:ext uri="{FF2B5EF4-FFF2-40B4-BE49-F238E27FC236}">
                  <a16:creationId xmlns:a16="http://schemas.microsoft.com/office/drawing/2014/main" id="{C94A8447-29E3-E750-A115-EE3FE57822EF}"/>
                </a:ext>
              </a:extLst>
            </p:cNvPr>
            <p:cNvCxnSpPr>
              <a:cxnSpLocks/>
            </p:cNvCxnSpPr>
            <p:nvPr/>
          </p:nvCxnSpPr>
          <p:spPr>
            <a:xfrm flipH="1">
              <a:off x="127504" y="3706148"/>
              <a:ext cx="4288147" cy="0"/>
            </a:xfrm>
            <a:prstGeom prst="line">
              <a:avLst/>
            </a:prstGeom>
            <a:noFill/>
            <a:ln w="19050" cap="flat" cmpd="sng" algn="ctr">
              <a:solidFill>
                <a:schemeClr val="accent1"/>
              </a:solidFill>
              <a:prstDash val="solid"/>
              <a:miter lim="800000"/>
            </a:ln>
            <a:effectLst/>
          </p:spPr>
        </p:cxnSp>
        <p:cxnSp>
          <p:nvCxnSpPr>
            <p:cNvPr id="59" name="Straight Connector 58">
              <a:extLst>
                <a:ext uri="{FF2B5EF4-FFF2-40B4-BE49-F238E27FC236}">
                  <a16:creationId xmlns:a16="http://schemas.microsoft.com/office/drawing/2014/main" id="{1FC754AD-B506-C3AD-A657-05543F665898}"/>
                </a:ext>
              </a:extLst>
            </p:cNvPr>
            <p:cNvCxnSpPr>
              <a:cxnSpLocks/>
            </p:cNvCxnSpPr>
            <p:nvPr/>
          </p:nvCxnSpPr>
          <p:spPr>
            <a:xfrm flipH="1">
              <a:off x="127504" y="5270767"/>
              <a:ext cx="5243774" cy="0"/>
            </a:xfrm>
            <a:prstGeom prst="line">
              <a:avLst/>
            </a:prstGeom>
            <a:noFill/>
            <a:ln w="19050" cap="flat" cmpd="sng" algn="ctr">
              <a:solidFill>
                <a:schemeClr val="accent1"/>
              </a:solidFill>
              <a:prstDash val="solid"/>
              <a:miter lim="800000"/>
            </a:ln>
            <a:effectLst/>
          </p:spPr>
        </p:cxnSp>
      </p:grpSp>
      <p:sp>
        <p:nvSpPr>
          <p:cNvPr id="64" name="Down Arrow 77">
            <a:extLst>
              <a:ext uri="{FF2B5EF4-FFF2-40B4-BE49-F238E27FC236}">
                <a16:creationId xmlns:a16="http://schemas.microsoft.com/office/drawing/2014/main" id="{0AADFDA5-9EAB-452F-2087-2F0ED3358AEA}"/>
              </a:ext>
            </a:extLst>
          </p:cNvPr>
          <p:cNvSpPr/>
          <p:nvPr userDrawn="1"/>
        </p:nvSpPr>
        <p:spPr>
          <a:xfrm rot="10800000">
            <a:off x="5867782" y="2332850"/>
            <a:ext cx="383329" cy="3478632"/>
          </a:xfrm>
          <a:prstGeom prst="downArrow">
            <a:avLst>
              <a:gd name="adj1" fmla="val 66170"/>
              <a:gd name="adj2" fmla="val 42795"/>
            </a:avLst>
          </a:prstGeom>
          <a:solidFill>
            <a:srgbClr val="B4B4B4"/>
          </a:solidFill>
          <a:ln w="6350" cap="flat" cmpd="sng" algn="ctr">
            <a:noFill/>
            <a:prstDash val="solid"/>
            <a:miter lim="800000"/>
          </a:ln>
          <a:effectLst/>
        </p:spPr>
        <p:txBody>
          <a:bodyPr wrap="square" rtlCol="0" anchor="ctr">
            <a:no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ea typeface="+mn-ea"/>
              <a:cs typeface="+mn-cs"/>
            </a:endParaRPr>
          </a:p>
        </p:txBody>
      </p:sp>
      <p:sp>
        <p:nvSpPr>
          <p:cNvPr id="65" name="Arc 64">
            <a:extLst>
              <a:ext uri="{FF2B5EF4-FFF2-40B4-BE49-F238E27FC236}">
                <a16:creationId xmlns:a16="http://schemas.microsoft.com/office/drawing/2014/main" id="{2D502754-C1F7-8C74-B672-5F90C79DDE15}"/>
              </a:ext>
            </a:extLst>
          </p:cNvPr>
          <p:cNvSpPr/>
          <p:nvPr userDrawn="1"/>
        </p:nvSpPr>
        <p:spPr>
          <a:xfrm>
            <a:off x="4120114" y="1884255"/>
            <a:ext cx="3926934" cy="3931059"/>
          </a:xfrm>
          <a:prstGeom prst="arc">
            <a:avLst>
              <a:gd name="adj1" fmla="val 17580675"/>
              <a:gd name="adj2" fmla="val 14727569"/>
            </a:avLst>
          </a:prstGeom>
          <a:noFill/>
          <a:ln w="12700" cap="flat" cmpd="sng" algn="ctr">
            <a:solidFill>
              <a:srgbClr val="B4B4B4"/>
            </a:solidFill>
            <a:prstDash val="solid"/>
            <a:miter lim="800000"/>
            <a:headEnd type="arrow"/>
            <a:tailEnd type="arrow"/>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C5C5C"/>
              </a:solidFill>
              <a:effectLst/>
              <a:uLnTx/>
              <a:uFillTx/>
              <a:ea typeface="+mn-ea"/>
              <a:cs typeface="+mn-cs"/>
            </a:endParaRPr>
          </a:p>
        </p:txBody>
      </p:sp>
      <p:sp>
        <p:nvSpPr>
          <p:cNvPr id="66" name="Arc 65">
            <a:extLst>
              <a:ext uri="{FF2B5EF4-FFF2-40B4-BE49-F238E27FC236}">
                <a16:creationId xmlns:a16="http://schemas.microsoft.com/office/drawing/2014/main" id="{5126AA9D-6813-EC9C-44C7-E6A1DB8A75DE}"/>
              </a:ext>
            </a:extLst>
          </p:cNvPr>
          <p:cNvSpPr/>
          <p:nvPr userDrawn="1"/>
        </p:nvSpPr>
        <p:spPr>
          <a:xfrm>
            <a:off x="4457047" y="2221542"/>
            <a:ext cx="3253068" cy="3256485"/>
          </a:xfrm>
          <a:prstGeom prst="arc">
            <a:avLst>
              <a:gd name="adj1" fmla="val 18638933"/>
              <a:gd name="adj2" fmla="val 18630248"/>
            </a:avLst>
          </a:prstGeom>
          <a:noFill/>
          <a:ln w="12700" cap="flat" cmpd="sng" algn="ctr">
            <a:solidFill>
              <a:srgbClr val="92D400"/>
            </a:solidFill>
            <a:prstDash val="solid"/>
            <a:miter lim="800000"/>
            <a:headEnd type="none"/>
            <a:tailEnd type="none"/>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C5C5C"/>
              </a:solidFill>
              <a:effectLst/>
              <a:uLnTx/>
              <a:uFillTx/>
              <a:ea typeface="+mn-ea"/>
              <a:cs typeface="+mn-cs"/>
            </a:endParaRPr>
          </a:p>
        </p:txBody>
      </p:sp>
      <p:sp>
        <p:nvSpPr>
          <p:cNvPr id="67" name="Oval 66">
            <a:extLst>
              <a:ext uri="{FF2B5EF4-FFF2-40B4-BE49-F238E27FC236}">
                <a16:creationId xmlns:a16="http://schemas.microsoft.com/office/drawing/2014/main" id="{FD1E18CC-FEE5-E370-2B2C-B6FC45D2D843}"/>
              </a:ext>
            </a:extLst>
          </p:cNvPr>
          <p:cNvSpPr/>
          <p:nvPr userDrawn="1"/>
        </p:nvSpPr>
        <p:spPr>
          <a:xfrm>
            <a:off x="7119401" y="2651222"/>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92D400"/>
              </a:solidFill>
              <a:effectLst/>
              <a:uLnTx/>
              <a:uFillTx/>
              <a:ea typeface="+mn-ea"/>
              <a:cs typeface="+mn-cs"/>
            </a:endParaRPr>
          </a:p>
        </p:txBody>
      </p:sp>
      <p:sp>
        <p:nvSpPr>
          <p:cNvPr id="68" name="Oval 67">
            <a:extLst>
              <a:ext uri="{FF2B5EF4-FFF2-40B4-BE49-F238E27FC236}">
                <a16:creationId xmlns:a16="http://schemas.microsoft.com/office/drawing/2014/main" id="{FAC56BBF-BCB8-0942-9BBA-2F07D472601E}"/>
              </a:ext>
            </a:extLst>
          </p:cNvPr>
          <p:cNvSpPr/>
          <p:nvPr userDrawn="1"/>
        </p:nvSpPr>
        <p:spPr>
          <a:xfrm>
            <a:off x="7398145" y="4433163"/>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92D400"/>
              </a:solidFill>
              <a:effectLst/>
              <a:uLnTx/>
              <a:uFillTx/>
              <a:ea typeface="+mn-ea"/>
              <a:cs typeface="+mn-cs"/>
            </a:endParaRPr>
          </a:p>
        </p:txBody>
      </p:sp>
      <p:sp>
        <p:nvSpPr>
          <p:cNvPr id="69" name="Oval 68">
            <a:extLst>
              <a:ext uri="{FF2B5EF4-FFF2-40B4-BE49-F238E27FC236}">
                <a16:creationId xmlns:a16="http://schemas.microsoft.com/office/drawing/2014/main" id="{3A35AAF6-4C6E-3403-4E87-FA9D78DC3F6D}"/>
              </a:ext>
            </a:extLst>
          </p:cNvPr>
          <p:cNvSpPr/>
          <p:nvPr userDrawn="1"/>
        </p:nvSpPr>
        <p:spPr>
          <a:xfrm>
            <a:off x="5225437" y="2252674"/>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92D400"/>
              </a:solidFill>
              <a:effectLst/>
              <a:uLnTx/>
              <a:uFillTx/>
              <a:ea typeface="+mn-ea"/>
              <a:cs typeface="+mn-cs"/>
            </a:endParaRPr>
          </a:p>
        </p:txBody>
      </p:sp>
      <p:sp>
        <p:nvSpPr>
          <p:cNvPr id="70" name="Oval 69">
            <a:extLst>
              <a:ext uri="{FF2B5EF4-FFF2-40B4-BE49-F238E27FC236}">
                <a16:creationId xmlns:a16="http://schemas.microsoft.com/office/drawing/2014/main" id="{7C8FF179-1800-67C7-CAB0-0D3BA3391419}"/>
              </a:ext>
            </a:extLst>
          </p:cNvPr>
          <p:cNvSpPr/>
          <p:nvPr userDrawn="1"/>
        </p:nvSpPr>
        <p:spPr>
          <a:xfrm>
            <a:off x="4324990" y="3706333"/>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92D400"/>
              </a:solidFill>
              <a:effectLst/>
              <a:uLnTx/>
              <a:uFillTx/>
              <a:ea typeface="+mn-ea"/>
              <a:cs typeface="+mn-cs"/>
            </a:endParaRPr>
          </a:p>
        </p:txBody>
      </p:sp>
      <p:sp>
        <p:nvSpPr>
          <p:cNvPr id="71" name="Oval 70">
            <a:extLst>
              <a:ext uri="{FF2B5EF4-FFF2-40B4-BE49-F238E27FC236}">
                <a16:creationId xmlns:a16="http://schemas.microsoft.com/office/drawing/2014/main" id="{7913AE0A-C73E-92CD-86D3-E38EA9F068DF}"/>
              </a:ext>
            </a:extLst>
          </p:cNvPr>
          <p:cNvSpPr/>
          <p:nvPr userDrawn="1"/>
        </p:nvSpPr>
        <p:spPr>
          <a:xfrm>
            <a:off x="5225437" y="5159992"/>
            <a:ext cx="271092" cy="273151"/>
          </a:xfrm>
          <a:prstGeom prst="ellipse">
            <a:avLst/>
          </a:prstGeom>
          <a:solidFill>
            <a:sysClr val="window" lastClr="FFFFFF"/>
          </a:solidFill>
          <a:ln w="28575" cap="flat" cmpd="sng" algn="ctr">
            <a:solidFill>
              <a:schemeClr val="accent1"/>
            </a:solid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92D400"/>
              </a:solidFill>
              <a:effectLst/>
              <a:uLnTx/>
              <a:uFillTx/>
              <a:ea typeface="+mn-ea"/>
              <a:cs typeface="+mn-cs"/>
            </a:endParaRPr>
          </a:p>
        </p:txBody>
      </p:sp>
      <p:sp>
        <p:nvSpPr>
          <p:cNvPr id="72" name="Oval 71">
            <a:extLst>
              <a:ext uri="{FF2B5EF4-FFF2-40B4-BE49-F238E27FC236}">
                <a16:creationId xmlns:a16="http://schemas.microsoft.com/office/drawing/2014/main" id="{32A71F37-3CA5-A704-F6A4-CD2E9B9A6CBC}"/>
              </a:ext>
            </a:extLst>
          </p:cNvPr>
          <p:cNvSpPr/>
          <p:nvPr userDrawn="1"/>
        </p:nvSpPr>
        <p:spPr>
          <a:xfrm>
            <a:off x="5002168" y="2823804"/>
            <a:ext cx="2136389" cy="2138630"/>
          </a:xfrm>
          <a:prstGeom prst="ellipse">
            <a:avLst/>
          </a:prstGeom>
          <a:solidFill>
            <a:sysClr val="window" lastClr="FFFFFF"/>
          </a:solidFill>
          <a:ln w="12700" cap="flat" cmpd="sng" algn="ctr">
            <a:noFill/>
            <a:prstDash val="solid"/>
            <a:miter lim="800000"/>
          </a:ln>
          <a:effectLst/>
        </p:spPr>
        <p:txBody>
          <a:bodyPr lIns="121917" tIns="60958" rIns="121917" bIns="6095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00" b="0" i="0" u="none" strike="noStrike" kern="0" cap="none" spc="0" normalizeH="0" baseline="0" noProof="0">
              <a:ln>
                <a:noFill/>
              </a:ln>
              <a:solidFill>
                <a:prstClr val="white"/>
              </a:solidFill>
              <a:effectLst/>
              <a:uLnTx/>
              <a:uFillTx/>
              <a:ea typeface="+mn-ea"/>
              <a:cs typeface="+mn-cs"/>
            </a:endParaRPr>
          </a:p>
        </p:txBody>
      </p:sp>
      <p:pic>
        <p:nvPicPr>
          <p:cNvPr id="73" name="Picture 72">
            <a:extLst>
              <a:ext uri="{FF2B5EF4-FFF2-40B4-BE49-F238E27FC236}">
                <a16:creationId xmlns:a16="http://schemas.microsoft.com/office/drawing/2014/main" id="{08CED4FB-091F-29B5-42D3-82354FD3920D}"/>
              </a:ext>
            </a:extLst>
          </p:cNvPr>
          <p:cNvPicPr>
            <a:picLocks noChangeAspect="1"/>
          </p:cNvPicPr>
          <p:nvPr userDrawn="1"/>
        </p:nvPicPr>
        <p:blipFill>
          <a:blip r:embed="rId2">
            <a:grayscl/>
            <a:extLst>
              <a:ext uri="{28A0092B-C50C-407E-A947-70E740481C1C}">
                <a14:useLocalDpi xmlns:a14="http://schemas.microsoft.com/office/drawing/2010/main"/>
              </a:ext>
            </a:extLst>
          </a:blip>
          <a:stretch>
            <a:fillRect/>
          </a:stretch>
        </p:blipFill>
        <p:spPr>
          <a:xfrm>
            <a:off x="5296426" y="3126380"/>
            <a:ext cx="1526039" cy="1533474"/>
          </a:xfrm>
          <a:prstGeom prst="rect">
            <a:avLst/>
          </a:prstGeom>
          <a:ln>
            <a:solidFill>
              <a:schemeClr val="accent1"/>
            </a:solidFill>
          </a:ln>
        </p:spPr>
      </p:pic>
      <p:sp>
        <p:nvSpPr>
          <p:cNvPr id="14" name="Content Placeholder 13">
            <a:extLst>
              <a:ext uri="{FF2B5EF4-FFF2-40B4-BE49-F238E27FC236}">
                <a16:creationId xmlns:a16="http://schemas.microsoft.com/office/drawing/2014/main" id="{A7BB0733-7EB1-173C-5E59-47C877B61AA0}"/>
              </a:ext>
            </a:extLst>
          </p:cNvPr>
          <p:cNvSpPr>
            <a:spLocks noGrp="1"/>
          </p:cNvSpPr>
          <p:nvPr>
            <p:ph type="body" sz="quarter" idx="21" hasCustomPrompt="1"/>
          </p:nvPr>
        </p:nvSpPr>
        <p:spPr>
          <a:xfrm>
            <a:off x="684813" y="2151849"/>
            <a:ext cx="3149624" cy="1130300"/>
          </a:xfrm>
        </p:spPr>
        <p:txBody>
          <a:bodyPr/>
          <a:lstStyle>
            <a:lvl3pPr>
              <a:defRPr sz="1200"/>
            </a:lvl3pPr>
            <a:lvl4pPr>
              <a:defRPr sz="1200"/>
            </a:lvl4pPr>
            <a:lvl5pPr>
              <a:defRPr sz="1200"/>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19">
            <a:extLst>
              <a:ext uri="{FF2B5EF4-FFF2-40B4-BE49-F238E27FC236}">
                <a16:creationId xmlns:a16="http://schemas.microsoft.com/office/drawing/2014/main" id="{1507D287-CFD2-60FF-859D-E3A7E33ACAC5}"/>
              </a:ext>
            </a:extLst>
          </p:cNvPr>
          <p:cNvSpPr>
            <a:spLocks noGrp="1"/>
          </p:cNvSpPr>
          <p:nvPr>
            <p:ph type="body" sz="quarter" idx="23" hasCustomPrompt="1"/>
          </p:nvPr>
        </p:nvSpPr>
        <p:spPr>
          <a:xfrm>
            <a:off x="684813" y="5088372"/>
            <a:ext cx="3265511" cy="1038978"/>
          </a:xfrm>
        </p:spPr>
        <p:txBody>
          <a:bodyPr/>
          <a:lstStyle>
            <a:lvl3pPr>
              <a:defRPr sz="1200"/>
            </a:lvl3pPr>
            <a:lvl4pPr>
              <a:defRPr sz="1200"/>
            </a:lvl4pPr>
            <a:lvl5pPr>
              <a:defRPr sz="1200"/>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20">
            <a:extLst>
              <a:ext uri="{FF2B5EF4-FFF2-40B4-BE49-F238E27FC236}">
                <a16:creationId xmlns:a16="http://schemas.microsoft.com/office/drawing/2014/main" id="{183225B0-4B29-B182-4D93-C390BD9FFA17}"/>
              </a:ext>
            </a:extLst>
          </p:cNvPr>
          <p:cNvSpPr>
            <a:spLocks noGrp="1"/>
          </p:cNvSpPr>
          <p:nvPr>
            <p:ph type="body" sz="quarter" idx="25" hasCustomPrompt="1"/>
          </p:nvPr>
        </p:nvSpPr>
        <p:spPr>
          <a:xfrm>
            <a:off x="8047048" y="2503440"/>
            <a:ext cx="3666261" cy="1496806"/>
          </a:xfrm>
        </p:spPr>
        <p:txBody>
          <a:bodyPr/>
          <a:lstStyle>
            <a:lvl3pPr>
              <a:defRPr sz="1200"/>
            </a:lvl3pPr>
            <a:lvl4pPr>
              <a:defRPr sz="1200"/>
            </a:lvl4pPr>
            <a:lvl5pPr>
              <a:defRPr sz="1200"/>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23" name="Content Placeholder 21">
            <a:extLst>
              <a:ext uri="{FF2B5EF4-FFF2-40B4-BE49-F238E27FC236}">
                <a16:creationId xmlns:a16="http://schemas.microsoft.com/office/drawing/2014/main" id="{B4A3A38A-3B4F-E2D0-5C1B-7D3936A89609}"/>
              </a:ext>
            </a:extLst>
          </p:cNvPr>
          <p:cNvSpPr>
            <a:spLocks noGrp="1"/>
          </p:cNvSpPr>
          <p:nvPr>
            <p:ph type="body" sz="quarter" idx="26" hasCustomPrompt="1"/>
          </p:nvPr>
        </p:nvSpPr>
        <p:spPr>
          <a:xfrm>
            <a:off x="8241676" y="4305536"/>
            <a:ext cx="3471633" cy="1496806"/>
          </a:xfrm>
        </p:spPr>
        <p:txBody>
          <a:bodyPr/>
          <a:lstStyle>
            <a:lvl3pPr>
              <a:defRPr sz="1200"/>
            </a:lvl3pPr>
            <a:lvl4pPr>
              <a:defRPr sz="1200"/>
            </a:lvl4pPr>
            <a:lvl5pPr>
              <a:defRPr sz="1200"/>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2" name="TextBox 1">
            <a:extLst>
              <a:ext uri="{FF2B5EF4-FFF2-40B4-BE49-F238E27FC236}">
                <a16:creationId xmlns:a16="http://schemas.microsoft.com/office/drawing/2014/main" id="{86CE6A4F-BDDE-9D35-A3FA-DB13A852507B}"/>
              </a:ext>
            </a:extLst>
          </p:cNvPr>
          <p:cNvSpPr txBox="1"/>
          <p:nvPr userDrawn="1"/>
        </p:nvSpPr>
        <p:spPr>
          <a:xfrm>
            <a:off x="9818297" y="172023"/>
            <a:ext cx="1872051" cy="276999"/>
          </a:xfrm>
          <a:prstGeom prst="rect">
            <a:avLst/>
          </a:prstGeom>
          <a:noFill/>
          <a:ln w="28575">
            <a:noFill/>
          </a:ln>
        </p:spPr>
        <p:txBody>
          <a:bodyPr wrap="none" lIns="0" tIns="0" rIns="0" bIns="0" rtlCol="0">
            <a:spAutoFit/>
          </a:bodyPr>
          <a:lstStyle/>
          <a:p>
            <a:pPr marL="0" indent="0">
              <a:spcBef>
                <a:spcPts val="600"/>
              </a:spcBef>
              <a:buSzPct val="100000"/>
              <a:buFont typeface="Arial"/>
              <a:buNone/>
            </a:pPr>
            <a:r>
              <a:rPr lang="en-US" b="1" dirty="0">
                <a:solidFill>
                  <a:srgbClr val="FF0000"/>
                </a:solidFill>
              </a:rPr>
              <a:t>AI Generated Draft</a:t>
            </a:r>
          </a:p>
        </p:txBody>
      </p:sp>
    </p:spTree>
    <p:extLst>
      <p:ext uri="{BB962C8B-B14F-4D97-AF65-F5344CB8AC3E}">
        <p14:creationId xmlns:p14="http://schemas.microsoft.com/office/powerpoint/2010/main" val="3098823685"/>
      </p:ext>
    </p:extLst>
  </p:cSld>
  <p:clrMapOvr>
    <a:masterClrMapping/>
  </p:clrMapOvr>
  <p:transition>
    <p:fade/>
  </p:transition>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pic>
        <p:nvPicPr>
          <p:cNvPr id="2" name="Picture Placeholder 9">
            <a:extLst>
              <a:ext uri="{FF2B5EF4-FFF2-40B4-BE49-F238E27FC236}">
                <a16:creationId xmlns:a16="http://schemas.microsoft.com/office/drawing/2014/main" id="{4695A265-36E9-A656-E35E-9D8166AD0F3B}"/>
              </a:ext>
            </a:extLst>
          </p:cNvPr>
          <p:cNvPicPr>
            <a:picLocks noChangeAspect="1"/>
          </p:cNvPicPr>
          <p:nvPr userDrawn="1"/>
        </p:nvPicPr>
        <p:blipFill>
          <a:blip r:embed="rId2"/>
          <a:srcRect t="55" b="55"/>
          <a:stretch/>
        </p:blipFill>
        <p:spPr>
          <a:xfrm>
            <a:off x="4921450" y="352422"/>
            <a:ext cx="5562600" cy="5556504"/>
          </a:xfrm>
          <a:prstGeom prst="rect">
            <a:avLst/>
          </a:prstGeom>
        </p:spPr>
      </p:pic>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9379" y="4573737"/>
            <a:ext cx="4303262"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245352"/>
            <a:ext cx="4446269" cy="273050"/>
          </a:xfrm>
          <a:prstGeom prst="rect">
            <a:avLst/>
          </a:prstGeom>
        </p:spPr>
        <p:txBody>
          <a:bodyPr anchor="b">
            <a:noAutofit/>
          </a:bodyPr>
          <a:lstStyle>
            <a:lvl1pPr marL="0" indent="0">
              <a:spcAft>
                <a:spcPts val="0"/>
              </a:spcAft>
              <a:buNone/>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Tree>
    <p:extLst>
      <p:ext uri="{BB962C8B-B14F-4D97-AF65-F5344CB8AC3E}">
        <p14:creationId xmlns:p14="http://schemas.microsoft.com/office/powerpoint/2010/main" val="2036244568"/>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 Black">
    <p:bg bwMode="gray">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E0E29CD-E3FA-7D91-D387-3FED747CEF67}"/>
              </a:ext>
            </a:extLst>
          </p:cNvPr>
          <p:cNvPicPr>
            <a:picLocks noChangeAspect="1"/>
          </p:cNvPicPr>
          <p:nvPr userDrawn="1"/>
        </p:nvPicPr>
        <p:blipFill>
          <a:blip r:embed="rId2"/>
          <a:stretch>
            <a:fillRect/>
          </a:stretch>
        </p:blipFill>
        <p:spPr>
          <a:xfrm>
            <a:off x="7222744" y="986360"/>
            <a:ext cx="4505960" cy="4505960"/>
          </a:xfrm>
          <a:prstGeom prst="rect">
            <a:avLst/>
          </a:prstGeom>
        </p:spPr>
      </p:pic>
      <p:cxnSp>
        <p:nvCxnSpPr>
          <p:cNvPr id="9" name="Straight Connector 8">
            <a:extLst>
              <a:ext uri="{FF2B5EF4-FFF2-40B4-BE49-F238E27FC236}">
                <a16:creationId xmlns:a16="http://schemas.microsoft.com/office/drawing/2014/main" id="{ADB18CA0-CD64-B06D-3EDE-E08ADB7CB8D6}"/>
              </a:ext>
            </a:extLst>
          </p:cNvPr>
          <p:cNvCxnSpPr>
            <a:cxnSpLocks/>
          </p:cNvCxnSpPr>
          <p:nvPr userDrawn="1"/>
        </p:nvCxnSpPr>
        <p:spPr>
          <a:xfrm>
            <a:off x="192505" y="3320620"/>
            <a:ext cx="7651015" cy="0"/>
          </a:xfrm>
          <a:prstGeom prst="line">
            <a:avLst/>
          </a:prstGeom>
          <a:ln w="25400">
            <a:gradFill flip="none" rotWithShape="1">
              <a:gsLst>
                <a:gs pos="100000">
                  <a:schemeClr val="bg1"/>
                </a:gs>
                <a:gs pos="79000">
                  <a:schemeClr val="tx2"/>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bwMode="gray">
          <a:xfrm>
            <a:off x="463296" y="1636777"/>
            <a:ext cx="6882384"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1" name="Oval 10">
            <a:extLst>
              <a:ext uri="{FF2B5EF4-FFF2-40B4-BE49-F238E27FC236}">
                <a16:creationId xmlns:a16="http://schemas.microsoft.com/office/drawing/2014/main" id="{FA717BC7-D39B-7741-4F7E-1D8A9BF685A8}"/>
              </a:ext>
            </a:extLst>
          </p:cNvPr>
          <p:cNvSpPr/>
          <p:nvPr userDrawn="1"/>
        </p:nvSpPr>
        <p:spPr bwMode="gray">
          <a:xfrm>
            <a:off x="7758430" y="3245260"/>
            <a:ext cx="144780" cy="144780"/>
          </a:xfrm>
          <a:prstGeom prst="ellipse">
            <a:avLst/>
          </a:prstGeom>
          <a:solidFill>
            <a:srgbClr val="00ABA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80453982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2 column content">
    <p:spTree>
      <p:nvGrpSpPr>
        <p:cNvPr id="1" name=""/>
        <p:cNvGrpSpPr/>
        <p:nvPr/>
      </p:nvGrpSpPr>
      <p:grpSpPr>
        <a:xfrm>
          <a:off x="0" y="0"/>
          <a:ext cx="0" cy="0"/>
          <a:chOff x="0" y="0"/>
          <a:chExt cx="0" cy="0"/>
        </a:xfrm>
      </p:grpSpPr>
      <p:pic>
        <p:nvPicPr>
          <p:cNvPr id="4" name="Picture 7" descr="Background pattern, surface chart&#10;&#10;Description automatically generated">
            <a:extLst>
              <a:ext uri="{FF2B5EF4-FFF2-40B4-BE49-F238E27FC236}">
                <a16:creationId xmlns:a16="http://schemas.microsoft.com/office/drawing/2014/main" id="{BFCA6E8A-0F4E-8285-F5BF-4DDC71A00732}"/>
              </a:ext>
            </a:extLst>
          </p:cNvPr>
          <p:cNvPicPr>
            <a:picLocks noChangeAspect="1"/>
          </p:cNvPicPr>
          <p:nvPr userDrawn="1"/>
        </p:nvPicPr>
        <p:blipFill>
          <a:blip r:embed="rId2"/>
          <a:stretch>
            <a:fillRect/>
          </a:stretch>
        </p:blipFill>
        <p:spPr>
          <a:xfrm>
            <a:off x="-16239" y="2996993"/>
            <a:ext cx="12224478" cy="4005704"/>
          </a:xfrm>
          <a:prstGeom prst="rect">
            <a:avLst/>
          </a:prstGeom>
        </p:spPr>
      </p:pic>
      <p:sp>
        <p:nvSpPr>
          <p:cNvPr id="11" name="Title Placeholder 1">
            <a:extLst>
              <a:ext uri="{FF2B5EF4-FFF2-40B4-BE49-F238E27FC236}">
                <a16:creationId xmlns:a16="http://schemas.microsoft.com/office/drawing/2014/main" id="{6E9BEEDA-6F6F-4BD9-B1D8-9731D1B037A6}"/>
              </a:ext>
            </a:extLst>
          </p:cNvPr>
          <p:cNvSpPr>
            <a:spLocks noGrp="1"/>
          </p:cNvSpPr>
          <p:nvPr>
            <p:ph type="title" hasCustomPrompt="1"/>
          </p:nvPr>
        </p:nvSpPr>
        <p:spPr>
          <a:xfrm>
            <a:off x="501650" y="491457"/>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2" name="Content Placeholder 5">
            <a:extLst>
              <a:ext uri="{FF2B5EF4-FFF2-40B4-BE49-F238E27FC236}">
                <a16:creationId xmlns:a16="http://schemas.microsoft.com/office/drawing/2014/main" id="{51430865-79F6-433D-4F53-76DA902896F0}"/>
              </a:ext>
            </a:extLst>
          </p:cNvPr>
          <p:cNvSpPr>
            <a:spLocks noGrp="1"/>
          </p:cNvSpPr>
          <p:nvPr>
            <p:ph sz="quarter" idx="23" hasCustomPrompt="1"/>
          </p:nvPr>
        </p:nvSpPr>
        <p:spPr>
          <a:xfrm>
            <a:off x="6886575" y="1533524"/>
            <a:ext cx="4803774" cy="4791076"/>
          </a:xfrm>
        </p:spPr>
        <p:txBody>
          <a:bodyPr/>
          <a:lstStyle>
            <a:lvl2pPr>
              <a:defRPr sz="1600">
                <a:latin typeface="Aptos" panose="020B0004020202020204" pitchFamily="34" charset="0"/>
              </a:defRPr>
            </a:lvl2pPr>
            <a:lvl3pPr>
              <a:defRPr>
                <a:latin typeface="Aptos" panose="020B0004020202020204" pitchFamily="34" charset="0"/>
              </a:defRPr>
            </a:lvl3pPr>
            <a:lvl4pPr>
              <a:defRPr>
                <a:latin typeface="Aptos" panose="020B0004020202020204" pitchFamily="34" charset="0"/>
              </a:defRPr>
            </a:lvl4pPr>
            <a:lvl5pPr>
              <a:defRPr>
                <a:latin typeface="Aptos" panose="020B0004020202020204" pitchFamily="34" charset="0"/>
              </a:defRPr>
            </a:lvl5pPr>
          </a:lstStyle>
          <a:p>
            <a:pPr lvl="1"/>
            <a:r>
              <a:rPr lang="en-US" dirty="0"/>
              <a:t>Second level</a:t>
            </a:r>
          </a:p>
          <a:p>
            <a:pPr lvl="2"/>
            <a:r>
              <a:rPr lang="en-US" dirty="0"/>
              <a:t>Third level</a:t>
            </a:r>
          </a:p>
          <a:p>
            <a:pPr lvl="3"/>
            <a:r>
              <a:rPr lang="en-US" dirty="0"/>
              <a:t>Fourth level</a:t>
            </a:r>
          </a:p>
          <a:p>
            <a:pPr lvl="4"/>
            <a:r>
              <a:rPr lang="en-US" dirty="0"/>
              <a:t>Fifth level</a:t>
            </a:r>
          </a:p>
        </p:txBody>
      </p:sp>
      <p:pic>
        <p:nvPicPr>
          <p:cNvPr id="3" name="Picture 2">
            <a:extLst>
              <a:ext uri="{FF2B5EF4-FFF2-40B4-BE49-F238E27FC236}">
                <a16:creationId xmlns:a16="http://schemas.microsoft.com/office/drawing/2014/main" id="{4195FE64-C84E-F213-9D22-499D378DFB48}"/>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b="-1"/>
          <a:stretch/>
        </p:blipFill>
        <p:spPr>
          <a:xfrm>
            <a:off x="467199" y="1503654"/>
            <a:ext cx="6230065" cy="4820945"/>
          </a:xfrm>
          <a:prstGeom prst="rect">
            <a:avLst/>
          </a:prstGeom>
          <a:noFill/>
        </p:spPr>
      </p:pic>
      <p:sp>
        <p:nvSpPr>
          <p:cNvPr id="5" name="TextBox 4">
            <a:extLst>
              <a:ext uri="{FF2B5EF4-FFF2-40B4-BE49-F238E27FC236}">
                <a16:creationId xmlns:a16="http://schemas.microsoft.com/office/drawing/2014/main" id="{BCDAE754-340E-682E-FD54-05D519A64585}"/>
              </a:ext>
            </a:extLst>
          </p:cNvPr>
          <p:cNvSpPr txBox="1"/>
          <p:nvPr userDrawn="1"/>
        </p:nvSpPr>
        <p:spPr>
          <a:xfrm>
            <a:off x="9818297" y="172023"/>
            <a:ext cx="1872051" cy="276999"/>
          </a:xfrm>
          <a:prstGeom prst="rect">
            <a:avLst/>
          </a:prstGeom>
          <a:noFill/>
          <a:ln w="28575">
            <a:noFill/>
          </a:ln>
        </p:spPr>
        <p:txBody>
          <a:bodyPr wrap="none" lIns="0" tIns="0" rIns="0" bIns="0" rtlCol="0">
            <a:spAutoFit/>
          </a:bodyPr>
          <a:lstStyle/>
          <a:p>
            <a:pPr marL="0" indent="0">
              <a:spcBef>
                <a:spcPts val="600"/>
              </a:spcBef>
              <a:buSzPct val="100000"/>
              <a:buFont typeface="Arial"/>
              <a:buNone/>
            </a:pPr>
            <a:r>
              <a:rPr lang="en-US" b="1" dirty="0">
                <a:solidFill>
                  <a:srgbClr val="FF0000"/>
                </a:solidFill>
              </a:rPr>
              <a:t>AI Generated Draft</a:t>
            </a:r>
          </a:p>
        </p:txBody>
      </p:sp>
    </p:spTree>
    <p:extLst>
      <p:ext uri="{BB962C8B-B14F-4D97-AF65-F5344CB8AC3E}">
        <p14:creationId xmlns:p14="http://schemas.microsoft.com/office/powerpoint/2010/main" val="2706969202"/>
      </p:ext>
    </p:extLst>
  </p:cSld>
  <p:clrMapOvr>
    <a:masterClrMapping/>
  </p:clrMapOvr>
  <p:transition>
    <p:fade/>
  </p:transition>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2 column content">
    <p:spTree>
      <p:nvGrpSpPr>
        <p:cNvPr id="1" name=""/>
        <p:cNvGrpSpPr/>
        <p:nvPr/>
      </p:nvGrpSpPr>
      <p:grpSpPr>
        <a:xfrm>
          <a:off x="0" y="0"/>
          <a:ext cx="0" cy="0"/>
          <a:chOff x="0" y="0"/>
          <a:chExt cx="0" cy="0"/>
        </a:xfrm>
      </p:grpSpPr>
      <p:pic>
        <p:nvPicPr>
          <p:cNvPr id="7" name="Picture 7" descr="Background pattern, surface chart&#10;&#10;Description automatically generated">
            <a:extLst>
              <a:ext uri="{FF2B5EF4-FFF2-40B4-BE49-F238E27FC236}">
                <a16:creationId xmlns:a16="http://schemas.microsoft.com/office/drawing/2014/main" id="{67E14772-A35F-EBED-6240-EFDDE714DCA3}"/>
              </a:ext>
            </a:extLst>
          </p:cNvPr>
          <p:cNvPicPr>
            <a:picLocks noChangeAspect="1"/>
          </p:cNvPicPr>
          <p:nvPr userDrawn="1"/>
        </p:nvPicPr>
        <p:blipFill>
          <a:blip r:embed="rId2"/>
          <a:stretch>
            <a:fillRect/>
          </a:stretch>
        </p:blipFill>
        <p:spPr>
          <a:xfrm>
            <a:off x="-16239" y="2996993"/>
            <a:ext cx="12224478" cy="4005704"/>
          </a:xfrm>
          <a:prstGeom prst="rect">
            <a:avLst/>
          </a:prstGeom>
        </p:spPr>
      </p:pic>
      <p:sp>
        <p:nvSpPr>
          <p:cNvPr id="10" name="Text Placeholder 8">
            <a:extLst>
              <a:ext uri="{FF2B5EF4-FFF2-40B4-BE49-F238E27FC236}">
                <a16:creationId xmlns:a16="http://schemas.microsoft.com/office/drawing/2014/main" id="{5DCFBECF-F261-4066-B77C-A1FCF54AA07F}"/>
              </a:ext>
            </a:extLst>
          </p:cNvPr>
          <p:cNvSpPr>
            <a:spLocks noGrp="1"/>
          </p:cNvSpPr>
          <p:nvPr>
            <p:ph type="body" sz="quarter" idx="13" hasCustomPrompt="1"/>
          </p:nvPr>
        </p:nvSpPr>
        <p:spPr>
          <a:xfrm>
            <a:off x="501650" y="651601"/>
            <a:ext cx="11188700" cy="334100"/>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6E9BEEDA-6F6F-4BD9-B1D8-9731D1B037A6}"/>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2" name="Content Placeholder 6">
            <a:extLst>
              <a:ext uri="{FF2B5EF4-FFF2-40B4-BE49-F238E27FC236}">
                <a16:creationId xmlns:a16="http://schemas.microsoft.com/office/drawing/2014/main" id="{07065D83-C64C-C5EC-1E0E-F3E042CFFD9D}"/>
              </a:ext>
            </a:extLst>
          </p:cNvPr>
          <p:cNvSpPr>
            <a:spLocks noGrp="1"/>
          </p:cNvSpPr>
          <p:nvPr>
            <p:ph sz="quarter" idx="14"/>
          </p:nvPr>
        </p:nvSpPr>
        <p:spPr>
          <a:xfrm>
            <a:off x="501649" y="1228726"/>
            <a:ext cx="5403852" cy="5172074"/>
          </a:xfrm>
        </p:spPr>
        <p:txBody>
          <a:bodyPr/>
          <a:lstStyle>
            <a:lvl1pPr marL="0" indent="0">
              <a:buNone/>
              <a:defRPr/>
            </a:lvl1pPr>
            <a:lvl2pPr>
              <a:defRPr sz="1600">
                <a:solidFill>
                  <a:srgbClr val="009A44"/>
                </a:solidFill>
              </a:defRPr>
            </a:lvl2pPr>
            <a:lvl3pPr>
              <a:defRPr sz="1200"/>
            </a:lvl3pPr>
            <a:lvl4pPr>
              <a:defRPr sz="1200"/>
            </a:lvl4pPr>
            <a:lvl5pPr>
              <a:defRPr sz="1200"/>
            </a:lvl5pPr>
          </a:lstStyle>
          <a:p>
            <a:pPr lvl="1"/>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9">
            <a:extLst>
              <a:ext uri="{FF2B5EF4-FFF2-40B4-BE49-F238E27FC236}">
                <a16:creationId xmlns:a16="http://schemas.microsoft.com/office/drawing/2014/main" id="{8DD83442-6A7F-C299-2CF7-0DAB78C38151}"/>
              </a:ext>
            </a:extLst>
          </p:cNvPr>
          <p:cNvSpPr>
            <a:spLocks noGrp="1"/>
          </p:cNvSpPr>
          <p:nvPr>
            <p:ph sz="quarter" idx="19"/>
          </p:nvPr>
        </p:nvSpPr>
        <p:spPr>
          <a:xfrm>
            <a:off x="6095998" y="1228726"/>
            <a:ext cx="5403852" cy="5172074"/>
          </a:xfrm>
        </p:spPr>
        <p:txBody>
          <a:bodyPr/>
          <a:lstStyle>
            <a:lvl1pPr marL="0" indent="0">
              <a:buNone/>
              <a:defRPr/>
            </a:lvl1pPr>
            <a:lvl2pPr>
              <a:defRPr sz="1600">
                <a:solidFill>
                  <a:srgbClr val="009A44"/>
                </a:solidFill>
              </a:defRPr>
            </a:lvl2pPr>
            <a:lvl3pPr>
              <a:defRPr sz="1200"/>
            </a:lvl3pPr>
            <a:lvl4pPr>
              <a:defRPr sz="1200"/>
            </a:lvl4pPr>
            <a:lvl5pPr>
              <a:defRPr sz="1200"/>
            </a:lvl5pPr>
          </a:lstStyle>
          <a:p>
            <a:pPr lvl="1"/>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a:extLst>
              <a:ext uri="{FF2B5EF4-FFF2-40B4-BE49-F238E27FC236}">
                <a16:creationId xmlns:a16="http://schemas.microsoft.com/office/drawing/2014/main" id="{6DC7A365-8E98-81B3-F243-9FCF5C70062B}"/>
              </a:ext>
            </a:extLst>
          </p:cNvPr>
          <p:cNvSpPr txBox="1"/>
          <p:nvPr userDrawn="1"/>
        </p:nvSpPr>
        <p:spPr>
          <a:xfrm>
            <a:off x="9818297" y="172023"/>
            <a:ext cx="1872051" cy="276999"/>
          </a:xfrm>
          <a:prstGeom prst="rect">
            <a:avLst/>
          </a:prstGeom>
          <a:noFill/>
          <a:ln w="28575">
            <a:noFill/>
          </a:ln>
        </p:spPr>
        <p:txBody>
          <a:bodyPr wrap="none" lIns="0" tIns="0" rIns="0" bIns="0" rtlCol="0">
            <a:spAutoFit/>
          </a:bodyPr>
          <a:lstStyle/>
          <a:p>
            <a:pPr marL="0" indent="0">
              <a:spcBef>
                <a:spcPts val="600"/>
              </a:spcBef>
              <a:buSzPct val="100000"/>
              <a:buFont typeface="Arial"/>
              <a:buNone/>
            </a:pPr>
            <a:r>
              <a:rPr lang="en-US" b="1" dirty="0">
                <a:solidFill>
                  <a:srgbClr val="FF0000"/>
                </a:solidFill>
              </a:rPr>
              <a:t>AI Generated Draft</a:t>
            </a:r>
          </a:p>
        </p:txBody>
      </p:sp>
    </p:spTree>
    <p:extLst>
      <p:ext uri="{BB962C8B-B14F-4D97-AF65-F5344CB8AC3E}">
        <p14:creationId xmlns:p14="http://schemas.microsoft.com/office/powerpoint/2010/main" val="341485164"/>
      </p:ext>
    </p:extLst>
  </p:cSld>
  <p:clrMapOvr>
    <a:masterClrMapping/>
  </p:clrMapOvr>
  <p:transition>
    <p:fade/>
  </p:transition>
  <p:hf hd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Qualifications 2 x 2">
    <p:spTree>
      <p:nvGrpSpPr>
        <p:cNvPr id="1" name=""/>
        <p:cNvGrpSpPr/>
        <p:nvPr/>
      </p:nvGrpSpPr>
      <p:grpSpPr>
        <a:xfrm>
          <a:off x="0" y="0"/>
          <a:ext cx="0" cy="0"/>
          <a:chOff x="0" y="0"/>
          <a:chExt cx="0" cy="0"/>
        </a:xfrm>
      </p:grpSpPr>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01650" y="651600"/>
            <a:ext cx="11188700" cy="334099"/>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1" name="Content Placeholder 6">
            <a:extLst>
              <a:ext uri="{FF2B5EF4-FFF2-40B4-BE49-F238E27FC236}">
                <a16:creationId xmlns:a16="http://schemas.microsoft.com/office/drawing/2014/main" id="{324E38ED-8164-8705-AEB1-CF55B1A8B24A}"/>
              </a:ext>
            </a:extLst>
          </p:cNvPr>
          <p:cNvSpPr>
            <a:spLocks noGrp="1"/>
          </p:cNvSpPr>
          <p:nvPr>
            <p:ph sz="quarter" idx="14" hasCustomPrompt="1"/>
          </p:nvPr>
        </p:nvSpPr>
        <p:spPr>
          <a:xfrm>
            <a:off x="520696" y="1219204"/>
            <a:ext cx="3632204" cy="2209796"/>
          </a:xfrm>
        </p:spPr>
        <p:txBody>
          <a:bodyPr/>
          <a:lstStyle>
            <a:lvl1pPr marL="0" indent="0">
              <a:buNone/>
              <a:defRPr/>
            </a:lvl1pPr>
            <a:lvl2pPr>
              <a:defRPr sz="1600">
                <a:solidFill>
                  <a:srgbClr val="009A44"/>
                </a:solidFill>
              </a:defRPr>
            </a:lvl2pPr>
            <a:lvl3pPr>
              <a:defRPr sz="1200"/>
            </a:lvl3pPr>
            <a:lvl4pPr>
              <a:defRPr sz="1200"/>
            </a:lvl4pPr>
            <a:lvl5pPr>
              <a:defRPr sz="1200"/>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6">
            <a:extLst>
              <a:ext uri="{FF2B5EF4-FFF2-40B4-BE49-F238E27FC236}">
                <a16:creationId xmlns:a16="http://schemas.microsoft.com/office/drawing/2014/main" id="{311AC2EF-31CB-CA81-E1A6-2D9C104BE75B}"/>
              </a:ext>
            </a:extLst>
          </p:cNvPr>
          <p:cNvSpPr>
            <a:spLocks noGrp="1"/>
          </p:cNvSpPr>
          <p:nvPr>
            <p:ph sz="quarter" idx="15" hasCustomPrompt="1"/>
          </p:nvPr>
        </p:nvSpPr>
        <p:spPr>
          <a:xfrm>
            <a:off x="4279898" y="1219204"/>
            <a:ext cx="3632204" cy="2209796"/>
          </a:xfrm>
        </p:spPr>
        <p:txBody>
          <a:bodyPr/>
          <a:lstStyle>
            <a:lvl1pPr marL="0" indent="0">
              <a:buNone/>
              <a:defRPr/>
            </a:lvl1pPr>
            <a:lvl2pPr>
              <a:defRPr sz="1600">
                <a:solidFill>
                  <a:srgbClr val="009A44"/>
                </a:solidFill>
              </a:defRPr>
            </a:lvl2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6">
            <a:extLst>
              <a:ext uri="{FF2B5EF4-FFF2-40B4-BE49-F238E27FC236}">
                <a16:creationId xmlns:a16="http://schemas.microsoft.com/office/drawing/2014/main" id="{FFE11B8A-701B-DBD1-BD47-3CFE9D31BEE8}"/>
              </a:ext>
            </a:extLst>
          </p:cNvPr>
          <p:cNvSpPr>
            <a:spLocks noGrp="1"/>
          </p:cNvSpPr>
          <p:nvPr>
            <p:ph sz="quarter" idx="16" hasCustomPrompt="1"/>
          </p:nvPr>
        </p:nvSpPr>
        <p:spPr>
          <a:xfrm>
            <a:off x="8058146" y="1219204"/>
            <a:ext cx="3632204" cy="2209796"/>
          </a:xfrm>
        </p:spPr>
        <p:txBody>
          <a:bodyPr/>
          <a:lstStyle>
            <a:lvl1pPr marL="0" indent="0">
              <a:buNone/>
              <a:defRPr/>
            </a:lvl1pPr>
            <a:lvl2pPr>
              <a:defRPr sz="1600">
                <a:solidFill>
                  <a:srgbClr val="009A44"/>
                </a:solidFill>
              </a:defRPr>
            </a:lvl2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6">
            <a:extLst>
              <a:ext uri="{FF2B5EF4-FFF2-40B4-BE49-F238E27FC236}">
                <a16:creationId xmlns:a16="http://schemas.microsoft.com/office/drawing/2014/main" id="{8B0837F5-A962-7CF5-4462-2382BE432586}"/>
              </a:ext>
            </a:extLst>
          </p:cNvPr>
          <p:cNvSpPr>
            <a:spLocks noGrp="1"/>
          </p:cNvSpPr>
          <p:nvPr>
            <p:ph sz="quarter" idx="17" hasCustomPrompt="1"/>
          </p:nvPr>
        </p:nvSpPr>
        <p:spPr>
          <a:xfrm>
            <a:off x="520696" y="3848104"/>
            <a:ext cx="3632204" cy="2209796"/>
          </a:xfrm>
        </p:spPr>
        <p:txBody>
          <a:bodyPr/>
          <a:lstStyle>
            <a:lvl1pPr marL="0" indent="0">
              <a:buNone/>
              <a:defRPr/>
            </a:lvl1pPr>
            <a:lvl2pPr>
              <a:defRPr sz="1600">
                <a:solidFill>
                  <a:srgbClr val="009A44"/>
                </a:solidFill>
              </a:defRPr>
            </a:lvl2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6">
            <a:extLst>
              <a:ext uri="{FF2B5EF4-FFF2-40B4-BE49-F238E27FC236}">
                <a16:creationId xmlns:a16="http://schemas.microsoft.com/office/drawing/2014/main" id="{00C91B6B-83E4-DD67-1BDC-A96C3EBF8B3E}"/>
              </a:ext>
            </a:extLst>
          </p:cNvPr>
          <p:cNvSpPr>
            <a:spLocks noGrp="1"/>
          </p:cNvSpPr>
          <p:nvPr>
            <p:ph sz="quarter" idx="18" hasCustomPrompt="1"/>
          </p:nvPr>
        </p:nvSpPr>
        <p:spPr>
          <a:xfrm>
            <a:off x="4279898" y="3848104"/>
            <a:ext cx="3632204" cy="2209796"/>
          </a:xfrm>
        </p:spPr>
        <p:txBody>
          <a:bodyPr/>
          <a:lstStyle>
            <a:lvl1pPr marL="0" indent="0">
              <a:buNone/>
              <a:defRPr/>
            </a:lvl1pPr>
            <a:lvl2pPr>
              <a:defRPr sz="1600">
                <a:solidFill>
                  <a:srgbClr val="009A44"/>
                </a:solidFill>
              </a:defRPr>
            </a:lvl2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6">
            <a:extLst>
              <a:ext uri="{FF2B5EF4-FFF2-40B4-BE49-F238E27FC236}">
                <a16:creationId xmlns:a16="http://schemas.microsoft.com/office/drawing/2014/main" id="{474E5BC8-8E5B-B49F-4C4B-13F017B2465B}"/>
              </a:ext>
            </a:extLst>
          </p:cNvPr>
          <p:cNvSpPr>
            <a:spLocks noGrp="1"/>
          </p:cNvSpPr>
          <p:nvPr>
            <p:ph sz="quarter" idx="19" hasCustomPrompt="1"/>
          </p:nvPr>
        </p:nvSpPr>
        <p:spPr>
          <a:xfrm>
            <a:off x="8058146" y="3848104"/>
            <a:ext cx="3632204" cy="2209796"/>
          </a:xfrm>
        </p:spPr>
        <p:txBody>
          <a:bodyPr/>
          <a:lstStyle>
            <a:lvl1pPr marL="0" indent="0">
              <a:buNone/>
              <a:defRPr/>
            </a:lvl1pPr>
            <a:lvl2pPr>
              <a:defRPr sz="1600">
                <a:solidFill>
                  <a:srgbClr val="009A44"/>
                </a:solidFill>
              </a:defRPr>
            </a:lvl2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Box 2">
            <a:extLst>
              <a:ext uri="{FF2B5EF4-FFF2-40B4-BE49-F238E27FC236}">
                <a16:creationId xmlns:a16="http://schemas.microsoft.com/office/drawing/2014/main" id="{9CF39866-0D5E-139A-4EEA-FFE2E978A38D}"/>
              </a:ext>
            </a:extLst>
          </p:cNvPr>
          <p:cNvSpPr txBox="1"/>
          <p:nvPr userDrawn="1"/>
        </p:nvSpPr>
        <p:spPr>
          <a:xfrm>
            <a:off x="9818297" y="172023"/>
            <a:ext cx="1872051" cy="276999"/>
          </a:xfrm>
          <a:prstGeom prst="rect">
            <a:avLst/>
          </a:prstGeom>
          <a:noFill/>
          <a:ln w="28575">
            <a:noFill/>
          </a:ln>
        </p:spPr>
        <p:txBody>
          <a:bodyPr wrap="none" lIns="0" tIns="0" rIns="0" bIns="0" rtlCol="0">
            <a:spAutoFit/>
          </a:bodyPr>
          <a:lstStyle/>
          <a:p>
            <a:pPr marL="0" indent="0">
              <a:spcBef>
                <a:spcPts val="600"/>
              </a:spcBef>
              <a:buSzPct val="100000"/>
              <a:buFont typeface="Arial"/>
              <a:buNone/>
            </a:pPr>
            <a:r>
              <a:rPr lang="en-US" b="1" dirty="0">
                <a:solidFill>
                  <a:srgbClr val="FF0000"/>
                </a:solidFill>
              </a:rPr>
              <a:t>AI Generated Draft</a:t>
            </a:r>
          </a:p>
        </p:txBody>
      </p:sp>
    </p:spTree>
    <p:extLst>
      <p:ext uri="{BB962C8B-B14F-4D97-AF65-F5344CB8AC3E}">
        <p14:creationId xmlns:p14="http://schemas.microsoft.com/office/powerpoint/2010/main" val="82261349"/>
      </p:ext>
    </p:extLst>
  </p:cSld>
  <p:clrMapOvr>
    <a:masterClrMapping/>
  </p:clrMapOvr>
  <p:transition>
    <p:fade/>
  </p:transition>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2 columns of text">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D58FF0B8-12F4-41CE-AD69-DD52D41C8BBD}"/>
              </a:ext>
            </a:extLst>
          </p:cNvPr>
          <p:cNvSpPr>
            <a:spLocks noGrp="1"/>
          </p:cNvSpPr>
          <p:nvPr>
            <p:ph type="body" sz="quarter" idx="13" hasCustomPrompt="1"/>
          </p:nvPr>
        </p:nvSpPr>
        <p:spPr>
          <a:xfrm>
            <a:off x="501650" y="651601"/>
            <a:ext cx="11188700" cy="334100"/>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565F50C2-3A2B-43F6-97B9-A4F3EF05E45A}"/>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cxnSp>
        <p:nvCxnSpPr>
          <p:cNvPr id="12" name="Straight Connector 11">
            <a:extLst>
              <a:ext uri="{FF2B5EF4-FFF2-40B4-BE49-F238E27FC236}">
                <a16:creationId xmlns:a16="http://schemas.microsoft.com/office/drawing/2014/main" id="{D8E6AE08-8739-F8A2-DB04-CC3B3EADBA6D}"/>
              </a:ext>
            </a:extLst>
          </p:cNvPr>
          <p:cNvCxnSpPr/>
          <p:nvPr userDrawn="1"/>
        </p:nvCxnSpPr>
        <p:spPr>
          <a:xfrm>
            <a:off x="8166578" y="1665976"/>
            <a:ext cx="352377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Content Placeholder 3">
            <a:extLst>
              <a:ext uri="{FF2B5EF4-FFF2-40B4-BE49-F238E27FC236}">
                <a16:creationId xmlns:a16="http://schemas.microsoft.com/office/drawing/2014/main" id="{BCF26ACD-3FC2-DD11-E7DE-727DB7814733}"/>
              </a:ext>
            </a:extLst>
          </p:cNvPr>
          <p:cNvSpPr>
            <a:spLocks noGrp="1"/>
          </p:cNvSpPr>
          <p:nvPr>
            <p:ph sz="quarter" idx="17"/>
          </p:nvPr>
        </p:nvSpPr>
        <p:spPr>
          <a:xfrm>
            <a:off x="501650" y="1042130"/>
            <a:ext cx="3523767" cy="5425342"/>
          </a:xfrm>
        </p:spPr>
        <p:txBody>
          <a:bodyPr/>
          <a:lstStyle>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3">
            <a:extLst>
              <a:ext uri="{FF2B5EF4-FFF2-40B4-BE49-F238E27FC236}">
                <a16:creationId xmlns:a16="http://schemas.microsoft.com/office/drawing/2014/main" id="{278B933B-9D43-7A34-912F-5715CF6F2EEA}"/>
              </a:ext>
            </a:extLst>
          </p:cNvPr>
          <p:cNvSpPr>
            <a:spLocks noGrp="1"/>
          </p:cNvSpPr>
          <p:nvPr>
            <p:ph sz="quarter" idx="18"/>
          </p:nvPr>
        </p:nvSpPr>
        <p:spPr>
          <a:xfrm>
            <a:off x="4333830" y="1042129"/>
            <a:ext cx="3523767" cy="5425342"/>
          </a:xfrm>
        </p:spPr>
        <p:txBody>
          <a:bodyPr/>
          <a:lstStyle>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a:extLst>
              <a:ext uri="{FF2B5EF4-FFF2-40B4-BE49-F238E27FC236}">
                <a16:creationId xmlns:a16="http://schemas.microsoft.com/office/drawing/2014/main" id="{2E084E40-B9E6-74C9-FFFD-3F994BA7130E}"/>
              </a:ext>
            </a:extLst>
          </p:cNvPr>
          <p:cNvSpPr>
            <a:spLocks noGrp="1"/>
          </p:cNvSpPr>
          <p:nvPr>
            <p:ph sz="quarter" idx="19"/>
          </p:nvPr>
        </p:nvSpPr>
        <p:spPr>
          <a:xfrm>
            <a:off x="8166010" y="1042128"/>
            <a:ext cx="3523767" cy="5425342"/>
          </a:xfrm>
        </p:spPr>
        <p:txBody>
          <a:bodyPr/>
          <a:lstStyle>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 name="Straight Connector 1">
            <a:extLst>
              <a:ext uri="{FF2B5EF4-FFF2-40B4-BE49-F238E27FC236}">
                <a16:creationId xmlns:a16="http://schemas.microsoft.com/office/drawing/2014/main" id="{C5BBE158-00B6-219B-4EE2-0302ECD219B8}"/>
              </a:ext>
            </a:extLst>
          </p:cNvPr>
          <p:cNvCxnSpPr/>
          <p:nvPr userDrawn="1"/>
        </p:nvCxnSpPr>
        <p:spPr>
          <a:xfrm>
            <a:off x="501647" y="1637660"/>
            <a:ext cx="352377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264D212E-20A2-D853-FCDE-279B9164F8BB}"/>
              </a:ext>
            </a:extLst>
          </p:cNvPr>
          <p:cNvCxnSpPr/>
          <p:nvPr userDrawn="1"/>
        </p:nvCxnSpPr>
        <p:spPr>
          <a:xfrm>
            <a:off x="4334115" y="1665976"/>
            <a:ext cx="352377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CC9FEBF3-F3E2-C435-DA22-8F5123E80D72}"/>
              </a:ext>
            </a:extLst>
          </p:cNvPr>
          <p:cNvSpPr txBox="1"/>
          <p:nvPr userDrawn="1"/>
        </p:nvSpPr>
        <p:spPr>
          <a:xfrm>
            <a:off x="9818297" y="172023"/>
            <a:ext cx="1872051" cy="276999"/>
          </a:xfrm>
          <a:prstGeom prst="rect">
            <a:avLst/>
          </a:prstGeom>
          <a:noFill/>
          <a:ln w="28575">
            <a:noFill/>
          </a:ln>
        </p:spPr>
        <p:txBody>
          <a:bodyPr wrap="none" lIns="0" tIns="0" rIns="0" bIns="0" rtlCol="0">
            <a:spAutoFit/>
          </a:bodyPr>
          <a:lstStyle/>
          <a:p>
            <a:pPr marL="0" indent="0">
              <a:spcBef>
                <a:spcPts val="600"/>
              </a:spcBef>
              <a:buSzPct val="100000"/>
              <a:buFont typeface="Arial"/>
              <a:buNone/>
            </a:pPr>
            <a:r>
              <a:rPr lang="en-US" b="1" dirty="0">
                <a:solidFill>
                  <a:srgbClr val="FF0000"/>
                </a:solidFill>
              </a:rPr>
              <a:t>AI Generated Draft</a:t>
            </a:r>
          </a:p>
        </p:txBody>
      </p:sp>
    </p:spTree>
    <p:extLst>
      <p:ext uri="{BB962C8B-B14F-4D97-AF65-F5344CB8AC3E}">
        <p14:creationId xmlns:p14="http://schemas.microsoft.com/office/powerpoint/2010/main" val="3305517873"/>
      </p:ext>
    </p:extLst>
  </p:cSld>
  <p:clrMapOvr>
    <a:masterClrMapping/>
  </p:clrMapOvr>
  <p:transition>
    <p:fade/>
  </p:transition>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8_2 columns of text">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D58FF0B8-12F4-41CE-AD69-DD52D41C8BBD}"/>
              </a:ext>
            </a:extLst>
          </p:cNvPr>
          <p:cNvSpPr>
            <a:spLocks noGrp="1"/>
          </p:cNvSpPr>
          <p:nvPr>
            <p:ph type="body" sz="quarter" idx="13" hasCustomPrompt="1"/>
          </p:nvPr>
        </p:nvSpPr>
        <p:spPr>
          <a:xfrm>
            <a:off x="501650" y="651601"/>
            <a:ext cx="11188700" cy="334100"/>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565F50C2-3A2B-43F6-97B9-A4F3EF05E45A}"/>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pic>
        <p:nvPicPr>
          <p:cNvPr id="11" name="Picture 10">
            <a:extLst>
              <a:ext uri="{FF2B5EF4-FFF2-40B4-BE49-F238E27FC236}">
                <a16:creationId xmlns:a16="http://schemas.microsoft.com/office/drawing/2014/main" id="{59F1D64A-C13C-ECA6-72FA-9F5BCCF7DE1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70224" y="1732950"/>
            <a:ext cx="3835400" cy="3530600"/>
          </a:xfrm>
          <a:prstGeom prst="rect">
            <a:avLst/>
          </a:prstGeom>
        </p:spPr>
      </p:pic>
      <p:sp>
        <p:nvSpPr>
          <p:cNvPr id="14" name="Oval 13">
            <a:extLst>
              <a:ext uri="{FF2B5EF4-FFF2-40B4-BE49-F238E27FC236}">
                <a16:creationId xmlns:a16="http://schemas.microsoft.com/office/drawing/2014/main" id="{A2007746-2888-E011-5052-F8E1507659DE}"/>
              </a:ext>
            </a:extLst>
          </p:cNvPr>
          <p:cNvSpPr/>
          <p:nvPr userDrawn="1"/>
        </p:nvSpPr>
        <p:spPr>
          <a:xfrm>
            <a:off x="5162170" y="2504511"/>
            <a:ext cx="1924665" cy="192466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9175"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prstClr val="black"/>
                </a:solidFill>
                <a:effectLst/>
                <a:uLnTx/>
                <a:uFillTx/>
                <a:ea typeface="+mn-ea"/>
                <a:cs typeface="+mn-cs"/>
              </a:rPr>
              <a:t>Strong Specialty Foodservice Opportunity for Client</a:t>
            </a:r>
          </a:p>
        </p:txBody>
      </p:sp>
      <p:sp>
        <p:nvSpPr>
          <p:cNvPr id="17" name="Text Placeholder 5">
            <a:extLst>
              <a:ext uri="{FF2B5EF4-FFF2-40B4-BE49-F238E27FC236}">
                <a16:creationId xmlns:a16="http://schemas.microsoft.com/office/drawing/2014/main" id="{FC98BB40-7DF7-CFC0-951F-81251F5AD184}"/>
              </a:ext>
            </a:extLst>
          </p:cNvPr>
          <p:cNvSpPr txBox="1">
            <a:spLocks/>
          </p:cNvSpPr>
          <p:nvPr userDrawn="1"/>
        </p:nvSpPr>
        <p:spPr>
          <a:xfrm>
            <a:off x="2728552" y="4587179"/>
            <a:ext cx="1766945" cy="1800493"/>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1" indent="0" algn="l" defTabSz="957263" rtl="0" eaLnBrk="1" fontAlgn="base" latinLnBrk="0" hangingPunct="1">
              <a:lnSpc>
                <a:spcPct val="100000"/>
              </a:lnSpc>
              <a:spcBef>
                <a:spcPts val="0"/>
              </a:spcBef>
              <a:spcAft>
                <a:spcPts val="600"/>
              </a:spcAft>
              <a:buClrTx/>
              <a:buSzPct val="100000"/>
              <a:buFont typeface="Arial" charset="0"/>
              <a:buNone/>
              <a:tabLst/>
              <a:defRPr/>
            </a:pPr>
            <a:r>
              <a:rPr kumimoji="0" lang="en-US" sz="1200" b="1" i="0" u="none" strike="noStrike" kern="1200" cap="none" spc="0" normalizeH="0" baseline="0" noProof="0">
                <a:ln>
                  <a:noFill/>
                </a:ln>
                <a:solidFill>
                  <a:prstClr val="black"/>
                </a:solidFill>
                <a:effectLst/>
                <a:uLnTx/>
                <a:uFillTx/>
                <a:ea typeface="+mj-ea"/>
                <a:cs typeface="+mj-cs"/>
              </a:rPr>
              <a:t>Ability to enter </a:t>
            </a:r>
            <a:br>
              <a:rPr kumimoji="0" lang="en-US" sz="1200" b="1" i="0" u="none" strike="noStrike" kern="1200" cap="none" spc="0" normalizeH="0" baseline="0" noProof="0">
                <a:ln>
                  <a:noFill/>
                </a:ln>
                <a:solidFill>
                  <a:prstClr val="black"/>
                </a:solidFill>
                <a:effectLst/>
                <a:uLnTx/>
                <a:uFillTx/>
                <a:ea typeface="+mj-ea"/>
                <a:cs typeface="+mj-cs"/>
              </a:rPr>
            </a:br>
            <a:r>
              <a:rPr kumimoji="0" lang="en-US" sz="1200" b="1" i="0" u="none" strike="noStrike" kern="1200" cap="none" spc="0" normalizeH="0" baseline="0" noProof="0">
                <a:ln>
                  <a:noFill/>
                </a:ln>
                <a:solidFill>
                  <a:prstClr val="black"/>
                </a:solidFill>
                <a:effectLst/>
                <a:uLnTx/>
                <a:uFillTx/>
                <a:ea typeface="+mj-ea"/>
                <a:cs typeface="+mj-cs"/>
              </a:rPr>
              <a:t>retail long-term</a:t>
            </a:r>
          </a:p>
          <a:p>
            <a:pPr marL="0" marR="0" lvl="1" indent="0" algn="l" defTabSz="957263" rtl="0" eaLnBrk="1" fontAlgn="base" latinLnBrk="0" hangingPunct="1">
              <a:lnSpc>
                <a:spcPct val="100000"/>
              </a:lnSpc>
              <a:spcBef>
                <a:spcPts val="0"/>
              </a:spcBef>
              <a:spcAft>
                <a:spcPts val="600"/>
              </a:spcAft>
              <a:buClrTx/>
              <a:buSzPct val="100000"/>
              <a:buFont typeface="Arial" charset="0"/>
              <a:buNone/>
              <a:tabLst/>
              <a:defRPr/>
            </a:pPr>
            <a:r>
              <a:rPr kumimoji="0" lang="en-US" sz="1100" b="0" i="0" u="none" strike="noStrike" kern="1200" cap="none" spc="0" normalizeH="0" baseline="0" noProof="0">
                <a:ln>
                  <a:noFill/>
                </a:ln>
                <a:solidFill>
                  <a:srgbClr val="000000"/>
                </a:solidFill>
                <a:effectLst/>
                <a:uLnTx/>
                <a:uFillTx/>
                <a:ea typeface="Montserrat Light" charset="0"/>
                <a:cs typeface="Montserrat Light" charset="0"/>
              </a:rPr>
              <a:t>Expansion from foodservice into retail would likely be an easier process, as Client could use its chef clientele to establish ethos with foodies and amateur chefs.</a:t>
            </a:r>
            <a:endParaRPr kumimoji="0" lang="en-US" sz="1100" b="0" i="0" u="none" strike="noStrike" kern="1200" cap="none" spc="0" normalizeH="0" baseline="0" noProof="0">
              <a:ln>
                <a:noFill/>
              </a:ln>
              <a:solidFill>
                <a:srgbClr val="ED5304"/>
              </a:solidFill>
              <a:effectLst/>
              <a:uLnTx/>
              <a:uFillTx/>
              <a:ea typeface="Montserrat Light" charset="0"/>
              <a:cs typeface="Montserrat Light" charset="0"/>
            </a:endParaRPr>
          </a:p>
        </p:txBody>
      </p:sp>
      <p:sp>
        <p:nvSpPr>
          <p:cNvPr id="18" name="Text Placeholder 5">
            <a:extLst>
              <a:ext uri="{FF2B5EF4-FFF2-40B4-BE49-F238E27FC236}">
                <a16:creationId xmlns:a16="http://schemas.microsoft.com/office/drawing/2014/main" id="{EED1125F-F899-DF1F-C59B-2869C78EA038}"/>
              </a:ext>
            </a:extLst>
          </p:cNvPr>
          <p:cNvSpPr txBox="1">
            <a:spLocks/>
          </p:cNvSpPr>
          <p:nvPr userDrawn="1"/>
        </p:nvSpPr>
        <p:spPr>
          <a:xfrm>
            <a:off x="2728552" y="2106262"/>
            <a:ext cx="1927041" cy="1969770"/>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1" indent="0" algn="l" defTabSz="957263" rtl="0" eaLnBrk="1" fontAlgn="base" latinLnBrk="0" hangingPunct="1">
              <a:lnSpc>
                <a:spcPct val="100000"/>
              </a:lnSpc>
              <a:spcBef>
                <a:spcPts val="0"/>
              </a:spcBef>
              <a:spcAft>
                <a:spcPts val="600"/>
              </a:spcAft>
              <a:buClrTx/>
              <a:buSzPct val="100000"/>
              <a:buFont typeface="Arial" charset="0"/>
              <a:buNone/>
              <a:tabLst/>
              <a:defRPr/>
            </a:pPr>
            <a:r>
              <a:rPr kumimoji="0" lang="en-US" sz="1200" b="1" i="0" u="none" strike="noStrike" kern="1200" cap="none" spc="0" normalizeH="0" baseline="0" noProof="0">
                <a:ln>
                  <a:noFill/>
                </a:ln>
                <a:solidFill>
                  <a:prstClr val="black"/>
                </a:solidFill>
                <a:effectLst/>
                <a:uLnTx/>
                <a:uFillTx/>
                <a:ea typeface="+mj-ea"/>
                <a:cs typeface="+mj-cs"/>
              </a:rPr>
              <a:t>Considerable growth potential</a:t>
            </a:r>
          </a:p>
          <a:p>
            <a:pPr marL="0" marR="0" lvl="1" indent="0" algn="l" defTabSz="957263" rtl="0" eaLnBrk="1" fontAlgn="base" latinLnBrk="0" hangingPunct="1">
              <a:lnSpc>
                <a:spcPct val="100000"/>
              </a:lnSpc>
              <a:spcBef>
                <a:spcPts val="0"/>
              </a:spcBef>
              <a:spcAft>
                <a:spcPts val="600"/>
              </a:spcAft>
              <a:buClrTx/>
              <a:buSzPct val="100000"/>
              <a:buFont typeface="Arial" charset="0"/>
              <a:buNone/>
              <a:tabLst/>
              <a:defRPr/>
            </a:pPr>
            <a:r>
              <a:rPr kumimoji="0" lang="en-US" sz="1100" b="0" i="0" u="none" strike="noStrike" kern="1200" cap="none" spc="0" normalizeH="0" baseline="0" noProof="0">
                <a:ln>
                  <a:noFill/>
                </a:ln>
                <a:solidFill>
                  <a:srgbClr val="000000"/>
                </a:solidFill>
                <a:effectLst/>
                <a:uLnTx/>
                <a:uFillTx/>
                <a:ea typeface="Montserrat Light" charset="0"/>
                <a:cs typeface="Montserrat Light" charset="0"/>
              </a:rPr>
              <a:t>The specialty foodservice market has grown on pace with the specialty retail market since 2011, and anticipated increases in disposable income and urbanization should drive increased demand for specialty away from home. </a:t>
            </a:r>
            <a:endParaRPr kumimoji="0" lang="en-US" sz="1100" b="0" i="0" u="none" strike="noStrike" kern="1200" cap="none" spc="0" normalizeH="0" baseline="0" noProof="0">
              <a:ln>
                <a:noFill/>
              </a:ln>
              <a:solidFill>
                <a:srgbClr val="ED5304"/>
              </a:solidFill>
              <a:effectLst/>
              <a:uLnTx/>
              <a:uFillTx/>
              <a:ea typeface="Montserrat Light" charset="0"/>
              <a:cs typeface="Montserrat Light" charset="0"/>
            </a:endParaRPr>
          </a:p>
        </p:txBody>
      </p:sp>
      <p:sp>
        <p:nvSpPr>
          <p:cNvPr id="19" name="Text Placeholder 5">
            <a:extLst>
              <a:ext uri="{FF2B5EF4-FFF2-40B4-BE49-F238E27FC236}">
                <a16:creationId xmlns:a16="http://schemas.microsoft.com/office/drawing/2014/main" id="{CE0BA129-8FEC-60AC-9121-FCFA436F43FB}"/>
              </a:ext>
            </a:extLst>
          </p:cNvPr>
          <p:cNvSpPr txBox="1">
            <a:spLocks/>
          </p:cNvSpPr>
          <p:nvPr userDrawn="1"/>
        </p:nvSpPr>
        <p:spPr>
          <a:xfrm>
            <a:off x="7742708" y="4570730"/>
            <a:ext cx="1704588" cy="1969770"/>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600"/>
              </a:spcAft>
              <a:buSzPct val="100000"/>
              <a:buNone/>
              <a:defRPr/>
            </a:pPr>
            <a:r>
              <a:rPr kumimoji="0" lang="en-US" sz="1200" b="1" i="0" u="none" strike="noStrike" kern="1200" cap="none" spc="0" normalizeH="0" baseline="0" noProof="0">
                <a:ln>
                  <a:noFill/>
                </a:ln>
                <a:solidFill>
                  <a:prstClr val="black"/>
                </a:solidFill>
                <a:effectLst/>
                <a:uLnTx/>
                <a:uFillTx/>
                <a:ea typeface="+mj-ea"/>
                <a:cs typeface="+mj-cs"/>
              </a:rPr>
              <a:t>Ability to eventually </a:t>
            </a:r>
            <a:br>
              <a:rPr kumimoji="0" lang="en-US" sz="1200" b="1" i="0" u="none" strike="noStrike" kern="1200" cap="none" spc="0" normalizeH="0" baseline="0" noProof="0">
                <a:ln>
                  <a:noFill/>
                </a:ln>
                <a:solidFill>
                  <a:prstClr val="black"/>
                </a:solidFill>
                <a:effectLst/>
                <a:uLnTx/>
                <a:uFillTx/>
                <a:ea typeface="+mj-ea"/>
                <a:cs typeface="+mj-cs"/>
              </a:rPr>
            </a:br>
            <a:r>
              <a:rPr kumimoji="0" lang="en-US" sz="1200" b="1" i="0" u="none" strike="noStrike" kern="1200" cap="none" spc="0" normalizeH="0" baseline="0" noProof="0">
                <a:ln>
                  <a:noFill/>
                </a:ln>
                <a:solidFill>
                  <a:prstClr val="black"/>
                </a:solidFill>
                <a:effectLst/>
                <a:uLnTx/>
                <a:uFillTx/>
                <a:ea typeface="+mj-ea"/>
                <a:cs typeface="+mj-cs"/>
              </a:rPr>
              <a:t>leverage </a:t>
            </a:r>
            <a:r>
              <a:rPr lang="en-US" sz="1200" b="1">
                <a:solidFill>
                  <a:prstClr val="black"/>
                </a:solidFill>
              </a:rPr>
              <a:t>brand</a:t>
            </a:r>
            <a:endParaRPr kumimoji="0" lang="en-US" sz="1200" b="1" i="0" u="none" strike="noStrike" kern="1200" cap="none" spc="0" normalizeH="0" baseline="0" noProof="0">
              <a:ln>
                <a:noFill/>
              </a:ln>
              <a:solidFill>
                <a:prstClr val="black"/>
              </a:solidFill>
              <a:effectLst/>
              <a:uLnTx/>
              <a:uFillTx/>
              <a:ea typeface="+mj-ea"/>
              <a:cs typeface="+mj-cs"/>
            </a:endParaRPr>
          </a:p>
          <a:p>
            <a:pPr marL="0" marR="0" lvl="1" indent="0" algn="l" defTabSz="957263" rtl="0" eaLnBrk="1" fontAlgn="base" latinLnBrk="0" hangingPunct="1">
              <a:lnSpc>
                <a:spcPct val="100000"/>
              </a:lnSpc>
              <a:spcBef>
                <a:spcPts val="0"/>
              </a:spcBef>
              <a:spcAft>
                <a:spcPts val="600"/>
              </a:spcAft>
              <a:buClrTx/>
              <a:buSzPct val="100000"/>
              <a:buFont typeface="Arial" charset="0"/>
              <a:buNone/>
              <a:tabLst/>
              <a:defRPr/>
            </a:pPr>
            <a:r>
              <a:rPr kumimoji="0" lang="en-US" sz="1100" b="0" i="0" u="none" strike="noStrike" kern="1200" cap="none" spc="0" normalizeH="0" baseline="0" noProof="0">
                <a:ln>
                  <a:noFill/>
                </a:ln>
                <a:solidFill>
                  <a:srgbClr val="000000"/>
                </a:solidFill>
                <a:effectLst/>
                <a:uLnTx/>
                <a:uFillTx/>
                <a:ea typeface="Montserrat Light" charset="0"/>
                <a:cs typeface="Montserrat Light" charset="0"/>
              </a:rPr>
              <a:t>Client relationships with and experience serving operators is a clear differentiator and advantage when establishing a foodservice-oriented marketplace (as opposed to retail).</a:t>
            </a:r>
            <a:endParaRPr kumimoji="0" lang="en-US" sz="1100" b="0" i="0" u="none" strike="noStrike" kern="1200" cap="none" spc="0" normalizeH="0" baseline="0" noProof="0">
              <a:ln>
                <a:noFill/>
              </a:ln>
              <a:solidFill>
                <a:srgbClr val="ED5304"/>
              </a:solidFill>
              <a:effectLst/>
              <a:uLnTx/>
              <a:uFillTx/>
              <a:ea typeface="Montserrat Light" charset="0"/>
              <a:cs typeface="Montserrat Light" charset="0"/>
            </a:endParaRPr>
          </a:p>
        </p:txBody>
      </p:sp>
      <p:sp>
        <p:nvSpPr>
          <p:cNvPr id="20" name="Text Placeholder 5">
            <a:extLst>
              <a:ext uri="{FF2B5EF4-FFF2-40B4-BE49-F238E27FC236}">
                <a16:creationId xmlns:a16="http://schemas.microsoft.com/office/drawing/2014/main" id="{B05FD63B-3051-C3B9-CC21-E61314C42923}"/>
              </a:ext>
            </a:extLst>
          </p:cNvPr>
          <p:cNvSpPr txBox="1">
            <a:spLocks/>
          </p:cNvSpPr>
          <p:nvPr userDrawn="1"/>
        </p:nvSpPr>
        <p:spPr>
          <a:xfrm>
            <a:off x="7742708" y="2106262"/>
            <a:ext cx="1704588" cy="1800493"/>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1" indent="0" algn="l" defTabSz="957263" rtl="0" eaLnBrk="1" fontAlgn="base" latinLnBrk="0" hangingPunct="1">
              <a:lnSpc>
                <a:spcPct val="100000"/>
              </a:lnSpc>
              <a:spcBef>
                <a:spcPts val="0"/>
              </a:spcBef>
              <a:spcAft>
                <a:spcPts val="600"/>
              </a:spcAft>
              <a:buClrTx/>
              <a:buSzPct val="100000"/>
              <a:buFont typeface="Arial" charset="0"/>
              <a:buNone/>
              <a:tabLst/>
              <a:defRPr/>
            </a:pPr>
            <a:r>
              <a:rPr kumimoji="0" lang="en-US" sz="1200" b="1" i="0" u="none" strike="noStrike" kern="1200" cap="none" spc="0" normalizeH="0" baseline="0" noProof="0">
                <a:ln>
                  <a:noFill/>
                </a:ln>
                <a:solidFill>
                  <a:prstClr val="black"/>
                </a:solidFill>
                <a:effectLst/>
                <a:uLnTx/>
                <a:uFillTx/>
                <a:ea typeface="+mj-ea"/>
                <a:cs typeface="+mj-cs"/>
              </a:rPr>
              <a:t>No clear marketplace leader</a:t>
            </a:r>
          </a:p>
          <a:p>
            <a:pPr marL="0" marR="0" lvl="1" indent="0" algn="l" defTabSz="957263" rtl="0" eaLnBrk="1" fontAlgn="base" latinLnBrk="0" hangingPunct="1">
              <a:lnSpc>
                <a:spcPct val="100000"/>
              </a:lnSpc>
              <a:spcBef>
                <a:spcPts val="0"/>
              </a:spcBef>
              <a:spcAft>
                <a:spcPts val="600"/>
              </a:spcAft>
              <a:buClrTx/>
              <a:buSzPct val="100000"/>
              <a:buFont typeface="Arial" charset="0"/>
              <a:buNone/>
              <a:tabLst/>
              <a:defRPr/>
            </a:pPr>
            <a:r>
              <a:rPr kumimoji="0" lang="en-US" sz="1100" b="0" i="0" u="none" strike="noStrike" kern="1200" cap="none" spc="0" normalizeH="0" baseline="0" noProof="0">
                <a:ln>
                  <a:noFill/>
                </a:ln>
                <a:solidFill>
                  <a:srgbClr val="000000"/>
                </a:solidFill>
                <a:effectLst/>
                <a:uLnTx/>
                <a:uFillTx/>
                <a:ea typeface="Montserrat Light" charset="0"/>
                <a:cs typeface="Montserrat Light" charset="0"/>
              </a:rPr>
              <a:t>No marketplace is currently winning the foodservice space, whereas Amazon and a number of retail-oriented specialty marketplaces increase barriers to entry with end consumers.</a:t>
            </a:r>
            <a:endParaRPr kumimoji="0" lang="en-US" sz="1100" b="0" i="0" u="none" strike="noStrike" kern="1200" cap="none" spc="0" normalizeH="0" baseline="0" noProof="0">
              <a:ln>
                <a:noFill/>
              </a:ln>
              <a:solidFill>
                <a:srgbClr val="ED5304"/>
              </a:solidFill>
              <a:effectLst/>
              <a:uLnTx/>
              <a:uFillTx/>
              <a:ea typeface="Montserrat Light" charset="0"/>
              <a:cs typeface="Montserrat Light" charset="0"/>
            </a:endParaRPr>
          </a:p>
        </p:txBody>
      </p:sp>
      <p:sp>
        <p:nvSpPr>
          <p:cNvPr id="21" name="Text Placeholder 5">
            <a:extLst>
              <a:ext uri="{FF2B5EF4-FFF2-40B4-BE49-F238E27FC236}">
                <a16:creationId xmlns:a16="http://schemas.microsoft.com/office/drawing/2014/main" id="{B9CB9FD6-B7AF-C687-4DBE-39CDA6ED213F}"/>
              </a:ext>
            </a:extLst>
          </p:cNvPr>
          <p:cNvSpPr txBox="1">
            <a:spLocks/>
          </p:cNvSpPr>
          <p:nvPr userDrawn="1"/>
        </p:nvSpPr>
        <p:spPr>
          <a:xfrm>
            <a:off x="4916890" y="5066389"/>
            <a:ext cx="2463991" cy="1277273"/>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1" indent="0" algn="l" defTabSz="957263" rtl="0" eaLnBrk="1" fontAlgn="base" latinLnBrk="0" hangingPunct="1">
              <a:lnSpc>
                <a:spcPct val="100000"/>
              </a:lnSpc>
              <a:spcBef>
                <a:spcPts val="0"/>
              </a:spcBef>
              <a:spcAft>
                <a:spcPts val="600"/>
              </a:spcAft>
              <a:buClrTx/>
              <a:buSzPct val="100000"/>
              <a:buFont typeface="Arial" charset="0"/>
              <a:buNone/>
              <a:tabLst/>
              <a:defRPr/>
            </a:pPr>
            <a:r>
              <a:rPr kumimoji="0" lang="en-US" sz="1200" b="1" i="0" u="none" strike="noStrike" kern="1200" cap="none" spc="0" normalizeH="0" baseline="0" noProof="0">
                <a:ln>
                  <a:noFill/>
                </a:ln>
                <a:solidFill>
                  <a:prstClr val="black"/>
                </a:solidFill>
                <a:effectLst/>
                <a:uLnTx/>
                <a:uFillTx/>
                <a:ea typeface="+mj-ea"/>
                <a:cs typeface="+mj-cs"/>
              </a:rPr>
              <a:t>Collection of operator insights</a:t>
            </a:r>
          </a:p>
          <a:p>
            <a:pPr marL="0" marR="0" lvl="1" indent="0" algn="l" defTabSz="957263" rtl="0" eaLnBrk="1" fontAlgn="base" latinLnBrk="0" hangingPunct="1">
              <a:lnSpc>
                <a:spcPct val="100000"/>
              </a:lnSpc>
              <a:spcBef>
                <a:spcPts val="0"/>
              </a:spcBef>
              <a:spcAft>
                <a:spcPts val="600"/>
              </a:spcAft>
              <a:buClrTx/>
              <a:buSzPct val="100000"/>
              <a:buFont typeface="Arial" charset="0"/>
              <a:buNone/>
              <a:tabLst/>
              <a:defRPr/>
            </a:pPr>
            <a:r>
              <a:rPr kumimoji="0" lang="en-US" sz="1100" b="0" i="0" u="none" strike="noStrike" kern="1200" cap="none" spc="0" normalizeH="0" baseline="0" noProof="0">
                <a:ln>
                  <a:noFill/>
                </a:ln>
                <a:solidFill>
                  <a:srgbClr val="000000"/>
                </a:solidFill>
                <a:effectLst/>
                <a:uLnTx/>
                <a:uFillTx/>
                <a:ea typeface="Montserrat Light" charset="0"/>
                <a:cs typeface="Montserrat Light" charset="0"/>
              </a:rPr>
              <a:t>Selling specialty to operators would increase face-time and familiarity with a Client-owned brand, and allow for collection of insights that could allow Client to work with additional operators in the future.</a:t>
            </a:r>
            <a:endParaRPr kumimoji="0" lang="en-US" sz="1100" b="0" i="0" u="none" strike="noStrike" kern="1200" cap="none" spc="0" normalizeH="0" baseline="0" noProof="0">
              <a:ln>
                <a:noFill/>
              </a:ln>
              <a:solidFill>
                <a:srgbClr val="ED5304"/>
              </a:solidFill>
              <a:effectLst/>
              <a:uLnTx/>
              <a:uFillTx/>
              <a:ea typeface="Montserrat Light" charset="0"/>
              <a:cs typeface="Montserrat Light" charset="0"/>
            </a:endParaRPr>
          </a:p>
        </p:txBody>
      </p:sp>
      <p:sp>
        <p:nvSpPr>
          <p:cNvPr id="2" name="TextBox 1">
            <a:extLst>
              <a:ext uri="{FF2B5EF4-FFF2-40B4-BE49-F238E27FC236}">
                <a16:creationId xmlns:a16="http://schemas.microsoft.com/office/drawing/2014/main" id="{F28F7B8F-1DAF-EFAE-A052-1BAFC9434C6D}"/>
              </a:ext>
            </a:extLst>
          </p:cNvPr>
          <p:cNvSpPr txBox="1"/>
          <p:nvPr userDrawn="1"/>
        </p:nvSpPr>
        <p:spPr>
          <a:xfrm>
            <a:off x="9818297" y="172023"/>
            <a:ext cx="1872051" cy="276999"/>
          </a:xfrm>
          <a:prstGeom prst="rect">
            <a:avLst/>
          </a:prstGeom>
          <a:noFill/>
          <a:ln w="28575">
            <a:noFill/>
          </a:ln>
        </p:spPr>
        <p:txBody>
          <a:bodyPr wrap="none" lIns="0" tIns="0" rIns="0" bIns="0" rtlCol="0">
            <a:spAutoFit/>
          </a:bodyPr>
          <a:lstStyle/>
          <a:p>
            <a:pPr marL="0" indent="0">
              <a:spcBef>
                <a:spcPts val="600"/>
              </a:spcBef>
              <a:buSzPct val="100000"/>
              <a:buFont typeface="Arial"/>
              <a:buNone/>
            </a:pPr>
            <a:r>
              <a:rPr lang="en-US" b="1" dirty="0">
                <a:solidFill>
                  <a:srgbClr val="FF0000"/>
                </a:solidFill>
              </a:rPr>
              <a:t>AI Generated Draft</a:t>
            </a:r>
          </a:p>
        </p:txBody>
      </p:sp>
    </p:spTree>
    <p:extLst>
      <p:ext uri="{BB962C8B-B14F-4D97-AF65-F5344CB8AC3E}">
        <p14:creationId xmlns:p14="http://schemas.microsoft.com/office/powerpoint/2010/main" val="2371900707"/>
      </p:ext>
    </p:extLst>
  </p:cSld>
  <p:clrMapOvr>
    <a:masterClrMapping/>
  </p:clrMapOvr>
  <p:transition>
    <p:fade/>
  </p:transition>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0_2 columns of text">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D58FF0B8-12F4-41CE-AD69-DD52D41C8BBD}"/>
              </a:ext>
            </a:extLst>
          </p:cNvPr>
          <p:cNvSpPr>
            <a:spLocks noGrp="1"/>
          </p:cNvSpPr>
          <p:nvPr>
            <p:ph type="body" sz="quarter" idx="13" hasCustomPrompt="1"/>
          </p:nvPr>
        </p:nvSpPr>
        <p:spPr>
          <a:xfrm>
            <a:off x="501650" y="651601"/>
            <a:ext cx="11188700" cy="334100"/>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565F50C2-3A2B-43F6-97B9-A4F3EF05E45A}"/>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2" name="Freeform: Shape 1">
            <a:extLst>
              <a:ext uri="{FF2B5EF4-FFF2-40B4-BE49-F238E27FC236}">
                <a16:creationId xmlns:a16="http://schemas.microsoft.com/office/drawing/2014/main" id="{10152158-B4AC-FBF4-19E1-4CCE4F8D28BC}"/>
              </a:ext>
            </a:extLst>
          </p:cNvPr>
          <p:cNvSpPr/>
          <p:nvPr userDrawn="1"/>
        </p:nvSpPr>
        <p:spPr>
          <a:xfrm>
            <a:off x="0" y="2892843"/>
            <a:ext cx="12167119" cy="405333"/>
          </a:xfrm>
          <a:custGeom>
            <a:avLst/>
            <a:gdLst>
              <a:gd name="connsiteX0" fmla="*/ 0 w 12167119"/>
              <a:gd name="connsiteY0" fmla="*/ 7222 h 405333"/>
              <a:gd name="connsiteX1" fmla="*/ 2146041 w 12167119"/>
              <a:gd name="connsiteY1" fmla="*/ 405329 h 405333"/>
              <a:gd name="connsiteX2" fmla="*/ 6419461 w 12167119"/>
              <a:gd name="connsiteY2" fmla="*/ 1002 h 405333"/>
              <a:gd name="connsiteX3" fmla="*/ 9666515 w 12167119"/>
              <a:gd name="connsiteY3" fmla="*/ 287141 h 405333"/>
              <a:gd name="connsiteX4" fmla="*/ 12167119 w 12167119"/>
              <a:gd name="connsiteY4" fmla="*/ 175173 h 4053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67119" h="405333">
                <a:moveTo>
                  <a:pt x="0" y="7222"/>
                </a:moveTo>
                <a:cubicBezTo>
                  <a:pt x="538065" y="206794"/>
                  <a:pt x="1076131" y="406366"/>
                  <a:pt x="2146041" y="405329"/>
                </a:cubicBezTo>
                <a:cubicBezTo>
                  <a:pt x="3215951" y="404292"/>
                  <a:pt x="5166049" y="20700"/>
                  <a:pt x="6419461" y="1002"/>
                </a:cubicBezTo>
                <a:cubicBezTo>
                  <a:pt x="7672873" y="-18696"/>
                  <a:pt x="8708572" y="258113"/>
                  <a:pt x="9666515" y="287141"/>
                </a:cubicBezTo>
                <a:cubicBezTo>
                  <a:pt x="10624458" y="316169"/>
                  <a:pt x="11395788" y="245671"/>
                  <a:pt x="12167119" y="175173"/>
                </a:cubicBezTo>
              </a:path>
            </a:pathLst>
          </a:custGeom>
          <a:noFill/>
          <a:ln w="28575" cap="flat" cmpd="sng" algn="ctr">
            <a:solidFill>
              <a:schemeClr val="accent5"/>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4" name="Freeform: Shape 7">
            <a:extLst>
              <a:ext uri="{FF2B5EF4-FFF2-40B4-BE49-F238E27FC236}">
                <a16:creationId xmlns:a16="http://schemas.microsoft.com/office/drawing/2014/main" id="{B3A89AD5-2497-87E2-2553-650A0B29693D}"/>
              </a:ext>
            </a:extLst>
          </p:cNvPr>
          <p:cNvSpPr/>
          <p:nvPr userDrawn="1"/>
        </p:nvSpPr>
        <p:spPr>
          <a:xfrm>
            <a:off x="-18661" y="2806650"/>
            <a:ext cx="12192000" cy="547505"/>
          </a:xfrm>
          <a:custGeom>
            <a:avLst/>
            <a:gdLst>
              <a:gd name="connsiteX0" fmla="*/ 12192000 w 12192000"/>
              <a:gd name="connsiteY0" fmla="*/ 547505 h 547505"/>
              <a:gd name="connsiteX1" fmla="*/ 8360229 w 12192000"/>
              <a:gd name="connsiteY1" fmla="*/ 109 h 547505"/>
              <a:gd name="connsiteX2" fmla="*/ 3987282 w 12192000"/>
              <a:gd name="connsiteY2" fmla="*/ 497742 h 547505"/>
              <a:gd name="connsiteX3" fmla="*/ 0 w 12192000"/>
              <a:gd name="connsiteY3" fmla="*/ 248926 h 547505"/>
            </a:gdLst>
            <a:ahLst/>
            <a:cxnLst>
              <a:cxn ang="0">
                <a:pos x="connsiteX0" y="connsiteY0"/>
              </a:cxn>
              <a:cxn ang="0">
                <a:pos x="connsiteX1" y="connsiteY1"/>
              </a:cxn>
              <a:cxn ang="0">
                <a:pos x="connsiteX2" y="connsiteY2"/>
              </a:cxn>
              <a:cxn ang="0">
                <a:pos x="connsiteX3" y="connsiteY3"/>
              </a:cxn>
            </a:cxnLst>
            <a:rect l="l" t="t" r="r" b="b"/>
            <a:pathLst>
              <a:path w="12192000" h="547505">
                <a:moveTo>
                  <a:pt x="12192000" y="547505"/>
                </a:moveTo>
                <a:cubicBezTo>
                  <a:pt x="10959841" y="277954"/>
                  <a:pt x="9727682" y="8403"/>
                  <a:pt x="8360229" y="109"/>
                </a:cubicBezTo>
                <a:cubicBezTo>
                  <a:pt x="6992776" y="-8185"/>
                  <a:pt x="5380653" y="456273"/>
                  <a:pt x="3987282" y="497742"/>
                </a:cubicBezTo>
                <a:cubicBezTo>
                  <a:pt x="2593911" y="539211"/>
                  <a:pt x="1296955" y="394068"/>
                  <a:pt x="0" y="248926"/>
                </a:cubicBezTo>
              </a:path>
            </a:pathLst>
          </a:custGeom>
          <a:noFill/>
          <a:ln w="28575" cap="flat" cmpd="sng" algn="ctr">
            <a:solidFill>
              <a:schemeClr val="bg2"/>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5" name="Freeform: Shape 9">
            <a:extLst>
              <a:ext uri="{FF2B5EF4-FFF2-40B4-BE49-F238E27FC236}">
                <a16:creationId xmlns:a16="http://schemas.microsoft.com/office/drawing/2014/main" id="{D723F3BD-A07E-5616-7EC9-69727AA41A34}"/>
              </a:ext>
            </a:extLst>
          </p:cNvPr>
          <p:cNvSpPr/>
          <p:nvPr userDrawn="1"/>
        </p:nvSpPr>
        <p:spPr>
          <a:xfrm>
            <a:off x="-6220" y="2825220"/>
            <a:ext cx="12185779" cy="462941"/>
          </a:xfrm>
          <a:custGeom>
            <a:avLst/>
            <a:gdLst>
              <a:gd name="connsiteX0" fmla="*/ 0 w 12185779"/>
              <a:gd name="connsiteY0" fmla="*/ 355905 h 557804"/>
              <a:gd name="connsiteX1" fmla="*/ 1418253 w 12185779"/>
              <a:gd name="connsiteY1" fmla="*/ 542517 h 557804"/>
              <a:gd name="connsiteX2" fmla="*/ 4627983 w 12185779"/>
              <a:gd name="connsiteY2" fmla="*/ 1342 h 557804"/>
              <a:gd name="connsiteX3" fmla="*/ 8596604 w 12185779"/>
              <a:gd name="connsiteY3" fmla="*/ 380786 h 557804"/>
              <a:gd name="connsiteX4" fmla="*/ 12185779 w 12185779"/>
              <a:gd name="connsiteY4" fmla="*/ 113309 h 557804"/>
              <a:gd name="connsiteX0" fmla="*/ 0 w 12185779"/>
              <a:gd name="connsiteY0" fmla="*/ 354763 h 471385"/>
              <a:gd name="connsiteX1" fmla="*/ 1564303 w 12185779"/>
              <a:gd name="connsiteY1" fmla="*/ 439775 h 471385"/>
              <a:gd name="connsiteX2" fmla="*/ 4627983 w 12185779"/>
              <a:gd name="connsiteY2" fmla="*/ 200 h 471385"/>
              <a:gd name="connsiteX3" fmla="*/ 8596604 w 12185779"/>
              <a:gd name="connsiteY3" fmla="*/ 379644 h 471385"/>
              <a:gd name="connsiteX4" fmla="*/ 12185779 w 12185779"/>
              <a:gd name="connsiteY4" fmla="*/ 112167 h 471385"/>
              <a:gd name="connsiteX0" fmla="*/ 0 w 12185779"/>
              <a:gd name="connsiteY0" fmla="*/ 354763 h 462941"/>
              <a:gd name="connsiteX1" fmla="*/ 1564303 w 12185779"/>
              <a:gd name="connsiteY1" fmla="*/ 439775 h 462941"/>
              <a:gd name="connsiteX2" fmla="*/ 4627983 w 12185779"/>
              <a:gd name="connsiteY2" fmla="*/ 200 h 462941"/>
              <a:gd name="connsiteX3" fmla="*/ 8596604 w 12185779"/>
              <a:gd name="connsiteY3" fmla="*/ 379644 h 462941"/>
              <a:gd name="connsiteX4" fmla="*/ 12185779 w 12185779"/>
              <a:gd name="connsiteY4" fmla="*/ 112167 h 462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85779" h="462941">
                <a:moveTo>
                  <a:pt x="0" y="354763"/>
                </a:moveTo>
                <a:cubicBezTo>
                  <a:pt x="323461" y="477616"/>
                  <a:pt x="653272" y="479819"/>
                  <a:pt x="1564303" y="439775"/>
                </a:cubicBezTo>
                <a:cubicBezTo>
                  <a:pt x="2475334" y="399731"/>
                  <a:pt x="3455933" y="10222"/>
                  <a:pt x="4627983" y="200"/>
                </a:cubicBezTo>
                <a:cubicBezTo>
                  <a:pt x="5800033" y="-9822"/>
                  <a:pt x="7336971" y="360983"/>
                  <a:pt x="8596604" y="379644"/>
                </a:cubicBezTo>
                <a:cubicBezTo>
                  <a:pt x="9856237" y="398305"/>
                  <a:pt x="11021008" y="255236"/>
                  <a:pt x="12185779" y="112167"/>
                </a:cubicBezTo>
              </a:path>
            </a:pathLst>
          </a:custGeom>
          <a:noFill/>
          <a:ln w="28575" cap="flat" cmpd="sng" algn="ctr">
            <a:solidFill>
              <a:schemeClr val="accent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cxnSp>
        <p:nvCxnSpPr>
          <p:cNvPr id="6" name="Straight Connector 5">
            <a:extLst>
              <a:ext uri="{FF2B5EF4-FFF2-40B4-BE49-F238E27FC236}">
                <a16:creationId xmlns:a16="http://schemas.microsoft.com/office/drawing/2014/main" id="{4701ABA5-CF58-0C68-BB4B-3A968DC3259B}"/>
              </a:ext>
            </a:extLst>
          </p:cNvPr>
          <p:cNvCxnSpPr/>
          <p:nvPr userDrawn="1"/>
        </p:nvCxnSpPr>
        <p:spPr>
          <a:xfrm flipH="1">
            <a:off x="1004115" y="3272946"/>
            <a:ext cx="5328" cy="645205"/>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276683B4-B9BE-3285-2C30-CC961C393EED}"/>
              </a:ext>
            </a:extLst>
          </p:cNvPr>
          <p:cNvSpPr txBox="1"/>
          <p:nvPr userDrawn="1"/>
        </p:nvSpPr>
        <p:spPr>
          <a:xfrm>
            <a:off x="274610" y="4310872"/>
            <a:ext cx="146966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Frutiger Next Pro Light Italic"/>
                <a:ea typeface="+mn-ea"/>
                <a:cs typeface="+mn-cs"/>
              </a:rPr>
              <a:t>REDUCE CYCLE TIME</a:t>
            </a:r>
          </a:p>
        </p:txBody>
      </p:sp>
      <p:sp>
        <p:nvSpPr>
          <p:cNvPr id="10" name="TextBox 9">
            <a:extLst>
              <a:ext uri="{FF2B5EF4-FFF2-40B4-BE49-F238E27FC236}">
                <a16:creationId xmlns:a16="http://schemas.microsoft.com/office/drawing/2014/main" id="{763D169D-F590-3863-534D-23DA931DC4D1}"/>
              </a:ext>
            </a:extLst>
          </p:cNvPr>
          <p:cNvSpPr txBox="1"/>
          <p:nvPr userDrawn="1"/>
        </p:nvSpPr>
        <p:spPr>
          <a:xfrm>
            <a:off x="1682370" y="4840183"/>
            <a:ext cx="161663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Frutiger Next Pro Light Italic"/>
                <a:ea typeface="+mn-ea"/>
                <a:cs typeface="+mn-cs"/>
              </a:rPr>
              <a:t>INCREASE SPEED TO MARKET</a:t>
            </a:r>
          </a:p>
        </p:txBody>
      </p:sp>
      <p:sp>
        <p:nvSpPr>
          <p:cNvPr id="12" name="TextBox 11">
            <a:extLst>
              <a:ext uri="{FF2B5EF4-FFF2-40B4-BE49-F238E27FC236}">
                <a16:creationId xmlns:a16="http://schemas.microsoft.com/office/drawing/2014/main" id="{E859DA25-CFE6-0DEA-2775-D860C95540B4}"/>
              </a:ext>
            </a:extLst>
          </p:cNvPr>
          <p:cNvSpPr txBox="1"/>
          <p:nvPr userDrawn="1"/>
        </p:nvSpPr>
        <p:spPr>
          <a:xfrm>
            <a:off x="5177692" y="4567500"/>
            <a:ext cx="173908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Frutiger Next Pro Light Italic"/>
                <a:ea typeface="+mn-ea"/>
                <a:cs typeface="+mn-cs"/>
              </a:rPr>
              <a:t>REDUCE DEMAND / SUPPLY GAPS</a:t>
            </a:r>
          </a:p>
        </p:txBody>
      </p:sp>
      <p:sp>
        <p:nvSpPr>
          <p:cNvPr id="13" name="TextBox 12">
            <a:extLst>
              <a:ext uri="{FF2B5EF4-FFF2-40B4-BE49-F238E27FC236}">
                <a16:creationId xmlns:a16="http://schemas.microsoft.com/office/drawing/2014/main" id="{C1E66E42-7D15-2E53-C820-C370A1737B47}"/>
              </a:ext>
            </a:extLst>
          </p:cNvPr>
          <p:cNvSpPr txBox="1"/>
          <p:nvPr userDrawn="1"/>
        </p:nvSpPr>
        <p:spPr>
          <a:xfrm>
            <a:off x="3237097" y="4218872"/>
            <a:ext cx="1819620"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Frutiger Next Pro Light Italic"/>
                <a:ea typeface="+mn-ea"/>
                <a:cs typeface="+mn-cs"/>
              </a:rPr>
              <a:t>MAINTAIN FLEXIBILITY IN DESIGN CHANGES</a:t>
            </a:r>
          </a:p>
        </p:txBody>
      </p:sp>
      <p:cxnSp>
        <p:nvCxnSpPr>
          <p:cNvPr id="15" name="Straight Connector 14">
            <a:extLst>
              <a:ext uri="{FF2B5EF4-FFF2-40B4-BE49-F238E27FC236}">
                <a16:creationId xmlns:a16="http://schemas.microsoft.com/office/drawing/2014/main" id="{13DE4C54-DA45-A42D-F5B9-78B876FDA6EB}"/>
              </a:ext>
            </a:extLst>
          </p:cNvPr>
          <p:cNvCxnSpPr>
            <a:endCxn id="16" idx="44"/>
          </p:cNvCxnSpPr>
          <p:nvPr userDrawn="1"/>
        </p:nvCxnSpPr>
        <p:spPr>
          <a:xfrm>
            <a:off x="2497736" y="3141887"/>
            <a:ext cx="0" cy="1168985"/>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6" name="Freeform 988">
            <a:extLst>
              <a:ext uri="{FF2B5EF4-FFF2-40B4-BE49-F238E27FC236}">
                <a16:creationId xmlns:a16="http://schemas.microsoft.com/office/drawing/2014/main" id="{AE1AF4EA-D93A-D0D3-C7F8-8020804EEA79}"/>
              </a:ext>
            </a:extLst>
          </p:cNvPr>
          <p:cNvSpPr>
            <a:spLocks noChangeAspect="1" noEditPoints="1"/>
          </p:cNvSpPr>
          <p:nvPr userDrawn="1"/>
        </p:nvSpPr>
        <p:spPr bwMode="auto">
          <a:xfrm>
            <a:off x="2252844" y="4310872"/>
            <a:ext cx="489784" cy="489784"/>
          </a:xfrm>
          <a:custGeom>
            <a:avLst/>
            <a:gdLst>
              <a:gd name="T0" fmla="*/ 256 w 512"/>
              <a:gd name="T1" fmla="*/ 117 h 512"/>
              <a:gd name="T2" fmla="*/ 117 w 512"/>
              <a:gd name="T3" fmla="*/ 256 h 512"/>
              <a:gd name="T4" fmla="*/ 256 w 512"/>
              <a:gd name="T5" fmla="*/ 394 h 512"/>
              <a:gd name="T6" fmla="*/ 394 w 512"/>
              <a:gd name="T7" fmla="*/ 256 h 512"/>
              <a:gd name="T8" fmla="*/ 256 w 512"/>
              <a:gd name="T9" fmla="*/ 117 h 512"/>
              <a:gd name="T10" fmla="*/ 245 w 512"/>
              <a:gd name="T11" fmla="*/ 149 h 512"/>
              <a:gd name="T12" fmla="*/ 256 w 512"/>
              <a:gd name="T13" fmla="*/ 138 h 512"/>
              <a:gd name="T14" fmla="*/ 266 w 512"/>
              <a:gd name="T15" fmla="*/ 149 h 512"/>
              <a:gd name="T16" fmla="*/ 266 w 512"/>
              <a:gd name="T17" fmla="*/ 160 h 512"/>
              <a:gd name="T18" fmla="*/ 256 w 512"/>
              <a:gd name="T19" fmla="*/ 170 h 512"/>
              <a:gd name="T20" fmla="*/ 245 w 512"/>
              <a:gd name="T21" fmla="*/ 160 h 512"/>
              <a:gd name="T22" fmla="*/ 245 w 512"/>
              <a:gd name="T23" fmla="*/ 149 h 512"/>
              <a:gd name="T24" fmla="*/ 160 w 512"/>
              <a:gd name="T25" fmla="*/ 266 h 512"/>
              <a:gd name="T26" fmla="*/ 149 w 512"/>
              <a:gd name="T27" fmla="*/ 266 h 512"/>
              <a:gd name="T28" fmla="*/ 138 w 512"/>
              <a:gd name="T29" fmla="*/ 256 h 512"/>
              <a:gd name="T30" fmla="*/ 149 w 512"/>
              <a:gd name="T31" fmla="*/ 245 h 512"/>
              <a:gd name="T32" fmla="*/ 160 w 512"/>
              <a:gd name="T33" fmla="*/ 245 h 512"/>
              <a:gd name="T34" fmla="*/ 170 w 512"/>
              <a:gd name="T35" fmla="*/ 256 h 512"/>
              <a:gd name="T36" fmla="*/ 160 w 512"/>
              <a:gd name="T37" fmla="*/ 266 h 512"/>
              <a:gd name="T38" fmla="*/ 266 w 512"/>
              <a:gd name="T39" fmla="*/ 362 h 512"/>
              <a:gd name="T40" fmla="*/ 256 w 512"/>
              <a:gd name="T41" fmla="*/ 373 h 512"/>
              <a:gd name="T42" fmla="*/ 245 w 512"/>
              <a:gd name="T43" fmla="*/ 362 h 512"/>
              <a:gd name="T44" fmla="*/ 245 w 512"/>
              <a:gd name="T45" fmla="*/ 352 h 512"/>
              <a:gd name="T46" fmla="*/ 256 w 512"/>
              <a:gd name="T47" fmla="*/ 341 h 512"/>
              <a:gd name="T48" fmla="*/ 266 w 512"/>
              <a:gd name="T49" fmla="*/ 352 h 512"/>
              <a:gd name="T50" fmla="*/ 266 w 512"/>
              <a:gd name="T51" fmla="*/ 362 h 512"/>
              <a:gd name="T52" fmla="*/ 306 w 512"/>
              <a:gd name="T53" fmla="*/ 231 h 512"/>
              <a:gd name="T54" fmla="*/ 263 w 512"/>
              <a:gd name="T55" fmla="*/ 274 h 512"/>
              <a:gd name="T56" fmla="*/ 256 w 512"/>
              <a:gd name="T57" fmla="*/ 277 h 512"/>
              <a:gd name="T58" fmla="*/ 248 w 512"/>
              <a:gd name="T59" fmla="*/ 274 h 512"/>
              <a:gd name="T60" fmla="*/ 173 w 512"/>
              <a:gd name="T61" fmla="*/ 199 h 512"/>
              <a:gd name="T62" fmla="*/ 173 w 512"/>
              <a:gd name="T63" fmla="*/ 184 h 512"/>
              <a:gd name="T64" fmla="*/ 189 w 512"/>
              <a:gd name="T65" fmla="*/ 184 h 512"/>
              <a:gd name="T66" fmla="*/ 256 w 512"/>
              <a:gd name="T67" fmla="*/ 251 h 512"/>
              <a:gd name="T68" fmla="*/ 291 w 512"/>
              <a:gd name="T69" fmla="*/ 216 h 512"/>
              <a:gd name="T70" fmla="*/ 306 w 512"/>
              <a:gd name="T71" fmla="*/ 216 h 512"/>
              <a:gd name="T72" fmla="*/ 306 w 512"/>
              <a:gd name="T73" fmla="*/ 231 h 512"/>
              <a:gd name="T74" fmla="*/ 373 w 512"/>
              <a:gd name="T75" fmla="*/ 256 h 512"/>
              <a:gd name="T76" fmla="*/ 362 w 512"/>
              <a:gd name="T77" fmla="*/ 266 h 512"/>
              <a:gd name="T78" fmla="*/ 352 w 512"/>
              <a:gd name="T79" fmla="*/ 266 h 512"/>
              <a:gd name="T80" fmla="*/ 341 w 512"/>
              <a:gd name="T81" fmla="*/ 256 h 512"/>
              <a:gd name="T82" fmla="*/ 352 w 512"/>
              <a:gd name="T83" fmla="*/ 245 h 512"/>
              <a:gd name="T84" fmla="*/ 362 w 512"/>
              <a:gd name="T85" fmla="*/ 245 h 512"/>
              <a:gd name="T86" fmla="*/ 373 w 512"/>
              <a:gd name="T87" fmla="*/ 256 h 512"/>
              <a:gd name="T88" fmla="*/ 256 w 512"/>
              <a:gd name="T89" fmla="*/ 0 h 512"/>
              <a:gd name="T90" fmla="*/ 0 w 512"/>
              <a:gd name="T91" fmla="*/ 256 h 512"/>
              <a:gd name="T92" fmla="*/ 256 w 512"/>
              <a:gd name="T93" fmla="*/ 512 h 512"/>
              <a:gd name="T94" fmla="*/ 512 w 512"/>
              <a:gd name="T95" fmla="*/ 256 h 512"/>
              <a:gd name="T96" fmla="*/ 256 w 512"/>
              <a:gd name="T97" fmla="*/ 0 h 512"/>
              <a:gd name="T98" fmla="*/ 256 w 512"/>
              <a:gd name="T99" fmla="*/ 416 h 512"/>
              <a:gd name="T100" fmla="*/ 96 w 512"/>
              <a:gd name="T101" fmla="*/ 256 h 512"/>
              <a:gd name="T102" fmla="*/ 256 w 512"/>
              <a:gd name="T103" fmla="*/ 96 h 512"/>
              <a:gd name="T104" fmla="*/ 416 w 512"/>
              <a:gd name="T105" fmla="*/ 256 h 512"/>
              <a:gd name="T106" fmla="*/ 256 w 512"/>
              <a:gd name="T107"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117"/>
                </a:moveTo>
                <a:cubicBezTo>
                  <a:pt x="179" y="117"/>
                  <a:pt x="117" y="179"/>
                  <a:pt x="117" y="256"/>
                </a:cubicBezTo>
                <a:cubicBezTo>
                  <a:pt x="117" y="332"/>
                  <a:pt x="179" y="394"/>
                  <a:pt x="256" y="394"/>
                </a:cubicBezTo>
                <a:cubicBezTo>
                  <a:pt x="332" y="394"/>
                  <a:pt x="394" y="332"/>
                  <a:pt x="394" y="256"/>
                </a:cubicBezTo>
                <a:cubicBezTo>
                  <a:pt x="394" y="179"/>
                  <a:pt x="332" y="117"/>
                  <a:pt x="256" y="117"/>
                </a:cubicBezTo>
                <a:close/>
                <a:moveTo>
                  <a:pt x="245" y="149"/>
                </a:moveTo>
                <a:cubicBezTo>
                  <a:pt x="245" y="143"/>
                  <a:pt x="250" y="138"/>
                  <a:pt x="256" y="138"/>
                </a:cubicBezTo>
                <a:cubicBezTo>
                  <a:pt x="262" y="138"/>
                  <a:pt x="266" y="143"/>
                  <a:pt x="266" y="149"/>
                </a:cubicBezTo>
                <a:cubicBezTo>
                  <a:pt x="266" y="160"/>
                  <a:pt x="266" y="160"/>
                  <a:pt x="266" y="160"/>
                </a:cubicBezTo>
                <a:cubicBezTo>
                  <a:pt x="266" y="166"/>
                  <a:pt x="262" y="170"/>
                  <a:pt x="256" y="170"/>
                </a:cubicBezTo>
                <a:cubicBezTo>
                  <a:pt x="250" y="170"/>
                  <a:pt x="245" y="166"/>
                  <a:pt x="245" y="160"/>
                </a:cubicBezTo>
                <a:lnTo>
                  <a:pt x="245" y="149"/>
                </a:lnTo>
                <a:close/>
                <a:moveTo>
                  <a:pt x="160" y="266"/>
                </a:moveTo>
                <a:cubicBezTo>
                  <a:pt x="149" y="266"/>
                  <a:pt x="149" y="266"/>
                  <a:pt x="149" y="266"/>
                </a:cubicBezTo>
                <a:cubicBezTo>
                  <a:pt x="143" y="266"/>
                  <a:pt x="138" y="262"/>
                  <a:pt x="138" y="256"/>
                </a:cubicBezTo>
                <a:cubicBezTo>
                  <a:pt x="138" y="250"/>
                  <a:pt x="143" y="245"/>
                  <a:pt x="149" y="245"/>
                </a:cubicBezTo>
                <a:cubicBezTo>
                  <a:pt x="160" y="245"/>
                  <a:pt x="160" y="245"/>
                  <a:pt x="160" y="245"/>
                </a:cubicBezTo>
                <a:cubicBezTo>
                  <a:pt x="166" y="245"/>
                  <a:pt x="170" y="250"/>
                  <a:pt x="170" y="256"/>
                </a:cubicBezTo>
                <a:cubicBezTo>
                  <a:pt x="170" y="262"/>
                  <a:pt x="166" y="266"/>
                  <a:pt x="160" y="266"/>
                </a:cubicBezTo>
                <a:close/>
                <a:moveTo>
                  <a:pt x="266" y="362"/>
                </a:moveTo>
                <a:cubicBezTo>
                  <a:pt x="266" y="368"/>
                  <a:pt x="262" y="373"/>
                  <a:pt x="256" y="373"/>
                </a:cubicBezTo>
                <a:cubicBezTo>
                  <a:pt x="250" y="373"/>
                  <a:pt x="245" y="368"/>
                  <a:pt x="245" y="362"/>
                </a:cubicBezTo>
                <a:cubicBezTo>
                  <a:pt x="245" y="352"/>
                  <a:pt x="245" y="352"/>
                  <a:pt x="245" y="352"/>
                </a:cubicBezTo>
                <a:cubicBezTo>
                  <a:pt x="245" y="346"/>
                  <a:pt x="250" y="341"/>
                  <a:pt x="256" y="341"/>
                </a:cubicBezTo>
                <a:cubicBezTo>
                  <a:pt x="262" y="341"/>
                  <a:pt x="266" y="346"/>
                  <a:pt x="266" y="352"/>
                </a:cubicBezTo>
                <a:lnTo>
                  <a:pt x="266" y="362"/>
                </a:lnTo>
                <a:close/>
                <a:moveTo>
                  <a:pt x="306" y="231"/>
                </a:moveTo>
                <a:cubicBezTo>
                  <a:pt x="263" y="274"/>
                  <a:pt x="263" y="274"/>
                  <a:pt x="263" y="274"/>
                </a:cubicBezTo>
                <a:cubicBezTo>
                  <a:pt x="261" y="276"/>
                  <a:pt x="258" y="277"/>
                  <a:pt x="256" y="277"/>
                </a:cubicBezTo>
                <a:cubicBezTo>
                  <a:pt x="253" y="277"/>
                  <a:pt x="250" y="276"/>
                  <a:pt x="248" y="274"/>
                </a:cubicBezTo>
                <a:cubicBezTo>
                  <a:pt x="173" y="199"/>
                  <a:pt x="173" y="199"/>
                  <a:pt x="173" y="199"/>
                </a:cubicBezTo>
                <a:cubicBezTo>
                  <a:pt x="169" y="195"/>
                  <a:pt x="169" y="188"/>
                  <a:pt x="173" y="184"/>
                </a:cubicBezTo>
                <a:cubicBezTo>
                  <a:pt x="178" y="180"/>
                  <a:pt x="184" y="180"/>
                  <a:pt x="189" y="184"/>
                </a:cubicBezTo>
                <a:cubicBezTo>
                  <a:pt x="256" y="251"/>
                  <a:pt x="256" y="251"/>
                  <a:pt x="256" y="251"/>
                </a:cubicBezTo>
                <a:cubicBezTo>
                  <a:pt x="291" y="216"/>
                  <a:pt x="291" y="216"/>
                  <a:pt x="291" y="216"/>
                </a:cubicBezTo>
                <a:cubicBezTo>
                  <a:pt x="295" y="212"/>
                  <a:pt x="302" y="212"/>
                  <a:pt x="306" y="216"/>
                </a:cubicBezTo>
                <a:cubicBezTo>
                  <a:pt x="310" y="220"/>
                  <a:pt x="310" y="227"/>
                  <a:pt x="306" y="231"/>
                </a:cubicBezTo>
                <a:close/>
                <a:moveTo>
                  <a:pt x="373" y="256"/>
                </a:moveTo>
                <a:cubicBezTo>
                  <a:pt x="373" y="262"/>
                  <a:pt x="368" y="266"/>
                  <a:pt x="362" y="266"/>
                </a:cubicBezTo>
                <a:cubicBezTo>
                  <a:pt x="352" y="266"/>
                  <a:pt x="352" y="266"/>
                  <a:pt x="352" y="266"/>
                </a:cubicBezTo>
                <a:cubicBezTo>
                  <a:pt x="346" y="266"/>
                  <a:pt x="341" y="262"/>
                  <a:pt x="341" y="256"/>
                </a:cubicBezTo>
                <a:cubicBezTo>
                  <a:pt x="341" y="250"/>
                  <a:pt x="346" y="245"/>
                  <a:pt x="352" y="245"/>
                </a:cubicBezTo>
                <a:cubicBezTo>
                  <a:pt x="362" y="245"/>
                  <a:pt x="362" y="245"/>
                  <a:pt x="362" y="245"/>
                </a:cubicBezTo>
                <a:cubicBezTo>
                  <a:pt x="368" y="245"/>
                  <a:pt x="373" y="250"/>
                  <a:pt x="373"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167" y="416"/>
                  <a:pt x="96" y="344"/>
                  <a:pt x="96" y="256"/>
                </a:cubicBezTo>
                <a:cubicBezTo>
                  <a:pt x="96" y="167"/>
                  <a:pt x="167" y="96"/>
                  <a:pt x="256" y="96"/>
                </a:cubicBezTo>
                <a:cubicBezTo>
                  <a:pt x="344" y="96"/>
                  <a:pt x="416" y="167"/>
                  <a:pt x="416" y="256"/>
                </a:cubicBezTo>
                <a:cubicBezTo>
                  <a:pt x="416" y="344"/>
                  <a:pt x="344" y="416"/>
                  <a:pt x="256" y="41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Frutiger Next Pro Light"/>
              <a:ea typeface="+mn-ea"/>
              <a:cs typeface="+mn-cs"/>
            </a:endParaRPr>
          </a:p>
        </p:txBody>
      </p:sp>
      <p:sp>
        <p:nvSpPr>
          <p:cNvPr id="23" name="Freeform 223">
            <a:extLst>
              <a:ext uri="{FF2B5EF4-FFF2-40B4-BE49-F238E27FC236}">
                <a16:creationId xmlns:a16="http://schemas.microsoft.com/office/drawing/2014/main" id="{A864974A-27EF-C5F1-C920-70DF5A56908C}"/>
              </a:ext>
            </a:extLst>
          </p:cNvPr>
          <p:cNvSpPr>
            <a:spLocks noChangeAspect="1" noEditPoints="1"/>
          </p:cNvSpPr>
          <p:nvPr userDrawn="1"/>
        </p:nvSpPr>
        <p:spPr bwMode="auto">
          <a:xfrm>
            <a:off x="763423" y="3726833"/>
            <a:ext cx="492039" cy="492039"/>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39 w 512"/>
              <a:gd name="T11" fmla="*/ 267 h 512"/>
              <a:gd name="T12" fmla="*/ 128 w 512"/>
              <a:gd name="T13" fmla="*/ 256 h 512"/>
              <a:gd name="T14" fmla="*/ 256 w 512"/>
              <a:gd name="T15" fmla="*/ 128 h 512"/>
              <a:gd name="T16" fmla="*/ 331 w 512"/>
              <a:gd name="T17" fmla="*/ 153 h 512"/>
              <a:gd name="T18" fmla="*/ 331 w 512"/>
              <a:gd name="T19" fmla="*/ 128 h 512"/>
              <a:gd name="T20" fmla="*/ 341 w 512"/>
              <a:gd name="T21" fmla="*/ 118 h 512"/>
              <a:gd name="T22" fmla="*/ 352 w 512"/>
              <a:gd name="T23" fmla="*/ 128 h 512"/>
              <a:gd name="T24" fmla="*/ 352 w 512"/>
              <a:gd name="T25" fmla="*/ 182 h 512"/>
              <a:gd name="T26" fmla="*/ 341 w 512"/>
              <a:gd name="T27" fmla="*/ 192 h 512"/>
              <a:gd name="T28" fmla="*/ 288 w 512"/>
              <a:gd name="T29" fmla="*/ 192 h 512"/>
              <a:gd name="T30" fmla="*/ 277 w 512"/>
              <a:gd name="T31" fmla="*/ 182 h 512"/>
              <a:gd name="T32" fmla="*/ 288 w 512"/>
              <a:gd name="T33" fmla="*/ 171 h 512"/>
              <a:gd name="T34" fmla="*/ 320 w 512"/>
              <a:gd name="T35" fmla="*/ 171 h 512"/>
              <a:gd name="T36" fmla="*/ 256 w 512"/>
              <a:gd name="T37" fmla="*/ 150 h 512"/>
              <a:gd name="T38" fmla="*/ 149 w 512"/>
              <a:gd name="T39" fmla="*/ 256 h 512"/>
              <a:gd name="T40" fmla="*/ 139 w 512"/>
              <a:gd name="T41" fmla="*/ 267 h 512"/>
              <a:gd name="T42" fmla="*/ 256 w 512"/>
              <a:gd name="T43" fmla="*/ 384 h 512"/>
              <a:gd name="T44" fmla="*/ 181 w 512"/>
              <a:gd name="T45" fmla="*/ 360 h 512"/>
              <a:gd name="T46" fmla="*/ 181 w 512"/>
              <a:gd name="T47" fmla="*/ 384 h 512"/>
              <a:gd name="T48" fmla="*/ 171 w 512"/>
              <a:gd name="T49" fmla="*/ 395 h 512"/>
              <a:gd name="T50" fmla="*/ 160 w 512"/>
              <a:gd name="T51" fmla="*/ 384 h 512"/>
              <a:gd name="T52" fmla="*/ 160 w 512"/>
              <a:gd name="T53" fmla="*/ 331 h 512"/>
              <a:gd name="T54" fmla="*/ 171 w 512"/>
              <a:gd name="T55" fmla="*/ 320 h 512"/>
              <a:gd name="T56" fmla="*/ 224 w 512"/>
              <a:gd name="T57" fmla="*/ 320 h 512"/>
              <a:gd name="T58" fmla="*/ 235 w 512"/>
              <a:gd name="T59" fmla="*/ 331 h 512"/>
              <a:gd name="T60" fmla="*/ 224 w 512"/>
              <a:gd name="T61" fmla="*/ 342 h 512"/>
              <a:gd name="T62" fmla="*/ 192 w 512"/>
              <a:gd name="T63" fmla="*/ 342 h 512"/>
              <a:gd name="T64" fmla="*/ 256 w 512"/>
              <a:gd name="T65" fmla="*/ 363 h 512"/>
              <a:gd name="T66" fmla="*/ 363 w 512"/>
              <a:gd name="T67" fmla="*/ 256 h 512"/>
              <a:gd name="T68" fmla="*/ 373 w 512"/>
              <a:gd name="T69" fmla="*/ 246 h 512"/>
              <a:gd name="T70" fmla="*/ 384 w 512"/>
              <a:gd name="T71" fmla="*/ 256 h 512"/>
              <a:gd name="T72" fmla="*/ 256 w 512"/>
              <a:gd name="T73"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139" y="267"/>
                </a:moveTo>
                <a:cubicBezTo>
                  <a:pt x="133" y="267"/>
                  <a:pt x="128" y="262"/>
                  <a:pt x="128" y="256"/>
                </a:cubicBezTo>
                <a:cubicBezTo>
                  <a:pt x="128" y="186"/>
                  <a:pt x="185" y="128"/>
                  <a:pt x="256" y="128"/>
                </a:cubicBezTo>
                <a:cubicBezTo>
                  <a:pt x="283" y="128"/>
                  <a:pt x="309" y="137"/>
                  <a:pt x="331" y="153"/>
                </a:cubicBezTo>
                <a:cubicBezTo>
                  <a:pt x="331" y="128"/>
                  <a:pt x="331" y="128"/>
                  <a:pt x="331" y="128"/>
                </a:cubicBezTo>
                <a:cubicBezTo>
                  <a:pt x="331" y="122"/>
                  <a:pt x="335" y="118"/>
                  <a:pt x="341" y="118"/>
                </a:cubicBezTo>
                <a:cubicBezTo>
                  <a:pt x="347" y="118"/>
                  <a:pt x="352" y="122"/>
                  <a:pt x="352" y="128"/>
                </a:cubicBezTo>
                <a:cubicBezTo>
                  <a:pt x="352" y="182"/>
                  <a:pt x="352" y="182"/>
                  <a:pt x="352" y="182"/>
                </a:cubicBezTo>
                <a:cubicBezTo>
                  <a:pt x="352" y="188"/>
                  <a:pt x="347" y="192"/>
                  <a:pt x="341" y="192"/>
                </a:cubicBezTo>
                <a:cubicBezTo>
                  <a:pt x="288" y="192"/>
                  <a:pt x="288" y="192"/>
                  <a:pt x="288" y="192"/>
                </a:cubicBezTo>
                <a:cubicBezTo>
                  <a:pt x="282" y="192"/>
                  <a:pt x="277" y="188"/>
                  <a:pt x="277" y="182"/>
                </a:cubicBezTo>
                <a:cubicBezTo>
                  <a:pt x="277" y="176"/>
                  <a:pt x="282" y="171"/>
                  <a:pt x="288" y="171"/>
                </a:cubicBezTo>
                <a:cubicBezTo>
                  <a:pt x="320" y="171"/>
                  <a:pt x="320" y="171"/>
                  <a:pt x="320" y="171"/>
                </a:cubicBezTo>
                <a:cubicBezTo>
                  <a:pt x="302" y="157"/>
                  <a:pt x="279" y="150"/>
                  <a:pt x="256" y="150"/>
                </a:cubicBezTo>
                <a:cubicBezTo>
                  <a:pt x="197" y="150"/>
                  <a:pt x="149" y="198"/>
                  <a:pt x="149" y="256"/>
                </a:cubicBezTo>
                <a:cubicBezTo>
                  <a:pt x="149" y="262"/>
                  <a:pt x="145" y="267"/>
                  <a:pt x="139" y="267"/>
                </a:cubicBezTo>
                <a:close/>
                <a:moveTo>
                  <a:pt x="256" y="384"/>
                </a:moveTo>
                <a:cubicBezTo>
                  <a:pt x="229" y="384"/>
                  <a:pt x="203" y="376"/>
                  <a:pt x="181" y="360"/>
                </a:cubicBezTo>
                <a:cubicBezTo>
                  <a:pt x="181" y="384"/>
                  <a:pt x="181" y="384"/>
                  <a:pt x="181" y="384"/>
                </a:cubicBezTo>
                <a:cubicBezTo>
                  <a:pt x="181" y="390"/>
                  <a:pt x="177" y="395"/>
                  <a:pt x="171" y="395"/>
                </a:cubicBezTo>
                <a:cubicBezTo>
                  <a:pt x="165" y="395"/>
                  <a:pt x="160" y="390"/>
                  <a:pt x="160" y="384"/>
                </a:cubicBezTo>
                <a:cubicBezTo>
                  <a:pt x="160" y="331"/>
                  <a:pt x="160" y="331"/>
                  <a:pt x="160" y="331"/>
                </a:cubicBezTo>
                <a:cubicBezTo>
                  <a:pt x="160" y="325"/>
                  <a:pt x="165" y="320"/>
                  <a:pt x="171" y="320"/>
                </a:cubicBezTo>
                <a:cubicBezTo>
                  <a:pt x="224" y="320"/>
                  <a:pt x="224" y="320"/>
                  <a:pt x="224" y="320"/>
                </a:cubicBezTo>
                <a:cubicBezTo>
                  <a:pt x="230" y="320"/>
                  <a:pt x="235" y="325"/>
                  <a:pt x="235" y="331"/>
                </a:cubicBezTo>
                <a:cubicBezTo>
                  <a:pt x="235" y="337"/>
                  <a:pt x="230" y="342"/>
                  <a:pt x="224" y="342"/>
                </a:cubicBezTo>
                <a:cubicBezTo>
                  <a:pt x="192" y="342"/>
                  <a:pt x="192" y="342"/>
                  <a:pt x="192" y="342"/>
                </a:cubicBezTo>
                <a:cubicBezTo>
                  <a:pt x="210" y="355"/>
                  <a:pt x="233" y="363"/>
                  <a:pt x="256" y="363"/>
                </a:cubicBezTo>
                <a:cubicBezTo>
                  <a:pt x="315" y="363"/>
                  <a:pt x="363" y="315"/>
                  <a:pt x="363" y="256"/>
                </a:cubicBezTo>
                <a:cubicBezTo>
                  <a:pt x="363" y="250"/>
                  <a:pt x="367" y="246"/>
                  <a:pt x="373" y="246"/>
                </a:cubicBezTo>
                <a:cubicBezTo>
                  <a:pt x="379" y="246"/>
                  <a:pt x="384" y="250"/>
                  <a:pt x="384" y="256"/>
                </a:cubicBezTo>
                <a:cubicBezTo>
                  <a:pt x="384" y="327"/>
                  <a:pt x="327" y="384"/>
                  <a:pt x="256" y="38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Frutiger Next Pro Light"/>
              <a:ea typeface="+mn-ea"/>
              <a:cs typeface="+mn-cs"/>
            </a:endParaRPr>
          </a:p>
        </p:txBody>
      </p:sp>
      <p:cxnSp>
        <p:nvCxnSpPr>
          <p:cNvPr id="24" name="Straight Connector 23">
            <a:extLst>
              <a:ext uri="{FF2B5EF4-FFF2-40B4-BE49-F238E27FC236}">
                <a16:creationId xmlns:a16="http://schemas.microsoft.com/office/drawing/2014/main" id="{223AD628-6A6D-2948-8084-7FC87CE8C64E}"/>
              </a:ext>
            </a:extLst>
          </p:cNvPr>
          <p:cNvCxnSpPr>
            <a:endCxn id="35" idx="11"/>
          </p:cNvCxnSpPr>
          <p:nvPr userDrawn="1"/>
        </p:nvCxnSpPr>
        <p:spPr>
          <a:xfrm>
            <a:off x="6042991" y="2924647"/>
            <a:ext cx="0" cy="111699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76D04B2-BAA4-1BD1-AC72-93EFBCDEA556}"/>
              </a:ext>
            </a:extLst>
          </p:cNvPr>
          <p:cNvCxnSpPr/>
          <p:nvPr userDrawn="1"/>
        </p:nvCxnSpPr>
        <p:spPr>
          <a:xfrm>
            <a:off x="4175112" y="2848099"/>
            <a:ext cx="0" cy="1012111"/>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6" name="Freeform 173">
            <a:extLst>
              <a:ext uri="{FF2B5EF4-FFF2-40B4-BE49-F238E27FC236}">
                <a16:creationId xmlns:a16="http://schemas.microsoft.com/office/drawing/2014/main" id="{08464C4C-EF21-6EA7-D726-F46043AD2454}"/>
              </a:ext>
            </a:extLst>
          </p:cNvPr>
          <p:cNvSpPr>
            <a:spLocks noChangeAspect="1" noEditPoints="1"/>
          </p:cNvSpPr>
          <p:nvPr userDrawn="1"/>
        </p:nvSpPr>
        <p:spPr bwMode="auto">
          <a:xfrm>
            <a:off x="3929528" y="3688307"/>
            <a:ext cx="491167" cy="491167"/>
          </a:xfrm>
          <a:custGeom>
            <a:avLst/>
            <a:gdLst>
              <a:gd name="T0" fmla="*/ 392 w 512"/>
              <a:gd name="T1" fmla="*/ 188 h 512"/>
              <a:gd name="T2" fmla="*/ 394 w 512"/>
              <a:gd name="T3" fmla="*/ 193 h 512"/>
              <a:gd name="T4" fmla="*/ 393 w 512"/>
              <a:gd name="T5" fmla="*/ 196 h 512"/>
              <a:gd name="T6" fmla="*/ 267 w 512"/>
              <a:gd name="T7" fmla="*/ 325 h 512"/>
              <a:gd name="T8" fmla="*/ 266 w 512"/>
              <a:gd name="T9" fmla="*/ 323 h 512"/>
              <a:gd name="T10" fmla="*/ 254 w 512"/>
              <a:gd name="T11" fmla="*/ 315 h 512"/>
              <a:gd name="T12" fmla="*/ 383 w 512"/>
              <a:gd name="T13" fmla="*/ 186 h 512"/>
              <a:gd name="T14" fmla="*/ 392 w 512"/>
              <a:gd name="T15" fmla="*/ 18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143 w 512"/>
              <a:gd name="T27" fmla="*/ 360 h 512"/>
              <a:gd name="T28" fmla="*/ 149 w 512"/>
              <a:gd name="T29" fmla="*/ 362 h 512"/>
              <a:gd name="T30" fmla="*/ 158 w 512"/>
              <a:gd name="T31" fmla="*/ 358 h 512"/>
              <a:gd name="T32" fmla="*/ 155 w 512"/>
              <a:gd name="T33" fmla="*/ 343 h 512"/>
              <a:gd name="T34" fmla="*/ 143 w 512"/>
              <a:gd name="T35" fmla="*/ 327 h 512"/>
              <a:gd name="T36" fmla="*/ 153 w 512"/>
              <a:gd name="T37" fmla="*/ 319 h 512"/>
              <a:gd name="T38" fmla="*/ 194 w 512"/>
              <a:gd name="T39" fmla="*/ 263 h 512"/>
              <a:gd name="T40" fmla="*/ 105 w 512"/>
              <a:gd name="T41" fmla="*/ 234 h 512"/>
              <a:gd name="T42" fmla="*/ 96 w 512"/>
              <a:gd name="T43" fmla="*/ 246 h 512"/>
              <a:gd name="T44" fmla="*/ 107 w 512"/>
              <a:gd name="T45" fmla="*/ 256 h 512"/>
              <a:gd name="T46" fmla="*/ 174 w 512"/>
              <a:gd name="T47" fmla="*/ 269 h 512"/>
              <a:gd name="T48" fmla="*/ 145 w 512"/>
              <a:gd name="T49" fmla="*/ 299 h 512"/>
              <a:gd name="T50" fmla="*/ 122 w 512"/>
              <a:gd name="T51" fmla="*/ 326 h 512"/>
              <a:gd name="T52" fmla="*/ 143 w 512"/>
              <a:gd name="T53" fmla="*/ 360 h 512"/>
              <a:gd name="T54" fmla="*/ 416 w 512"/>
              <a:gd name="T55" fmla="*/ 191 h 512"/>
              <a:gd name="T56" fmla="*/ 407 w 512"/>
              <a:gd name="T57" fmla="*/ 173 h 512"/>
              <a:gd name="T58" fmla="*/ 368 w 512"/>
              <a:gd name="T59" fmla="*/ 171 h 512"/>
              <a:gd name="T60" fmla="*/ 230 w 512"/>
              <a:gd name="T61" fmla="*/ 309 h 512"/>
              <a:gd name="T62" fmla="*/ 182 w 512"/>
              <a:gd name="T63" fmla="*/ 348 h 512"/>
              <a:gd name="T64" fmla="*/ 150 w 512"/>
              <a:gd name="T65" fmla="*/ 373 h 512"/>
              <a:gd name="T66" fmla="*/ 139 w 512"/>
              <a:gd name="T67" fmla="*/ 381 h 512"/>
              <a:gd name="T68" fmla="*/ 145 w 512"/>
              <a:gd name="T69" fmla="*/ 394 h 512"/>
              <a:gd name="T70" fmla="*/ 212 w 512"/>
              <a:gd name="T71" fmla="*/ 406 h 512"/>
              <a:gd name="T72" fmla="*/ 255 w 512"/>
              <a:gd name="T73" fmla="*/ 395 h 512"/>
              <a:gd name="T74" fmla="*/ 277 w 512"/>
              <a:gd name="T75" fmla="*/ 352 h 512"/>
              <a:gd name="T76" fmla="*/ 277 w 512"/>
              <a:gd name="T77" fmla="*/ 346 h 512"/>
              <a:gd name="T78" fmla="*/ 409 w 512"/>
              <a:gd name="T79" fmla="*/ 211 h 512"/>
              <a:gd name="T80" fmla="*/ 416 w 512"/>
              <a:gd name="T81" fmla="*/ 191 h 512"/>
              <a:gd name="T82" fmla="*/ 234 w 512"/>
              <a:gd name="T83" fmla="*/ 330 h 512"/>
              <a:gd name="T84" fmla="*/ 202 w 512"/>
              <a:gd name="T85" fmla="*/ 355 h 512"/>
              <a:gd name="T86" fmla="*/ 185 w 512"/>
              <a:gd name="T87" fmla="*/ 382 h 512"/>
              <a:gd name="T88" fmla="*/ 243 w 512"/>
              <a:gd name="T89" fmla="*/ 377 h 512"/>
              <a:gd name="T90" fmla="*/ 256 w 512"/>
              <a:gd name="T91" fmla="*/ 351 h 512"/>
              <a:gd name="T92" fmla="*/ 250 w 512"/>
              <a:gd name="T93" fmla="*/ 338 h 512"/>
              <a:gd name="T94" fmla="*/ 234 w 512"/>
              <a:gd name="T95"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92" y="188"/>
                </a:moveTo>
                <a:cubicBezTo>
                  <a:pt x="393" y="189"/>
                  <a:pt x="394" y="191"/>
                  <a:pt x="394" y="193"/>
                </a:cubicBezTo>
                <a:cubicBezTo>
                  <a:pt x="394" y="194"/>
                  <a:pt x="394" y="195"/>
                  <a:pt x="393" y="196"/>
                </a:cubicBezTo>
                <a:cubicBezTo>
                  <a:pt x="267" y="325"/>
                  <a:pt x="267" y="325"/>
                  <a:pt x="267" y="325"/>
                </a:cubicBezTo>
                <a:cubicBezTo>
                  <a:pt x="267" y="324"/>
                  <a:pt x="266" y="324"/>
                  <a:pt x="266" y="323"/>
                </a:cubicBezTo>
                <a:cubicBezTo>
                  <a:pt x="263" y="320"/>
                  <a:pt x="259" y="317"/>
                  <a:pt x="254" y="315"/>
                </a:cubicBezTo>
                <a:cubicBezTo>
                  <a:pt x="383" y="186"/>
                  <a:pt x="383" y="186"/>
                  <a:pt x="383" y="186"/>
                </a:cubicBezTo>
                <a:cubicBezTo>
                  <a:pt x="385" y="184"/>
                  <a:pt x="389" y="185"/>
                  <a:pt x="392" y="18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60"/>
                </a:moveTo>
                <a:cubicBezTo>
                  <a:pt x="145" y="362"/>
                  <a:pt x="147" y="362"/>
                  <a:pt x="149" y="362"/>
                </a:cubicBezTo>
                <a:cubicBezTo>
                  <a:pt x="152" y="362"/>
                  <a:pt x="156" y="361"/>
                  <a:pt x="158" y="358"/>
                </a:cubicBezTo>
                <a:cubicBezTo>
                  <a:pt x="161" y="353"/>
                  <a:pt x="160" y="346"/>
                  <a:pt x="155" y="343"/>
                </a:cubicBezTo>
                <a:cubicBezTo>
                  <a:pt x="151" y="340"/>
                  <a:pt x="143" y="332"/>
                  <a:pt x="143" y="327"/>
                </a:cubicBez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lose/>
                <a:moveTo>
                  <a:pt x="416" y="191"/>
                </a:moveTo>
                <a:cubicBezTo>
                  <a:pt x="415" y="185"/>
                  <a:pt x="412" y="178"/>
                  <a:pt x="407" y="173"/>
                </a:cubicBezTo>
                <a:cubicBezTo>
                  <a:pt x="396" y="162"/>
                  <a:pt x="378" y="161"/>
                  <a:pt x="368" y="171"/>
                </a:cubicBezTo>
                <a:cubicBezTo>
                  <a:pt x="230" y="309"/>
                  <a:pt x="230" y="309"/>
                  <a:pt x="230" y="309"/>
                </a:cubicBezTo>
                <a:cubicBezTo>
                  <a:pt x="217" y="310"/>
                  <a:pt x="193" y="314"/>
                  <a:pt x="182" y="348"/>
                </a:cubicBezTo>
                <a:cubicBezTo>
                  <a:pt x="173" y="374"/>
                  <a:pt x="152" y="373"/>
                  <a:pt x="150" y="373"/>
                </a:cubicBezTo>
                <a:cubicBezTo>
                  <a:pt x="145" y="372"/>
                  <a:pt x="140" y="376"/>
                  <a:pt x="139" y="381"/>
                </a:cubicBezTo>
                <a:cubicBezTo>
                  <a:pt x="137" y="386"/>
                  <a:pt x="140" y="392"/>
                  <a:pt x="145" y="394"/>
                </a:cubicBezTo>
                <a:cubicBezTo>
                  <a:pt x="147" y="394"/>
                  <a:pt x="179" y="406"/>
                  <a:pt x="212" y="406"/>
                </a:cubicBezTo>
                <a:cubicBezTo>
                  <a:pt x="227" y="406"/>
                  <a:pt x="243" y="403"/>
                  <a:pt x="255" y="395"/>
                </a:cubicBezTo>
                <a:cubicBezTo>
                  <a:pt x="269" y="386"/>
                  <a:pt x="276" y="372"/>
                  <a:pt x="277" y="352"/>
                </a:cubicBezTo>
                <a:cubicBezTo>
                  <a:pt x="277" y="350"/>
                  <a:pt x="277" y="348"/>
                  <a:pt x="277" y="346"/>
                </a:cubicBezTo>
                <a:cubicBezTo>
                  <a:pt x="409" y="211"/>
                  <a:pt x="409" y="211"/>
                  <a:pt x="409" y="211"/>
                </a:cubicBezTo>
                <a:cubicBezTo>
                  <a:pt x="414" y="206"/>
                  <a:pt x="416" y="199"/>
                  <a:pt x="416" y="191"/>
                </a:cubicBezTo>
                <a:close/>
                <a:moveTo>
                  <a:pt x="234" y="330"/>
                </a:moveTo>
                <a:cubicBezTo>
                  <a:pt x="222" y="331"/>
                  <a:pt x="209" y="334"/>
                  <a:pt x="202" y="355"/>
                </a:cubicBezTo>
                <a:cubicBezTo>
                  <a:pt x="198" y="367"/>
                  <a:pt x="192" y="376"/>
                  <a:pt x="185" y="382"/>
                </a:cubicBezTo>
                <a:cubicBezTo>
                  <a:pt x="205" y="386"/>
                  <a:pt x="229" y="387"/>
                  <a:pt x="243" y="377"/>
                </a:cubicBezTo>
                <a:cubicBezTo>
                  <a:pt x="251" y="372"/>
                  <a:pt x="255" y="364"/>
                  <a:pt x="256" y="351"/>
                </a:cubicBezTo>
                <a:cubicBezTo>
                  <a:pt x="256" y="346"/>
                  <a:pt x="254" y="342"/>
                  <a:pt x="250" y="338"/>
                </a:cubicBezTo>
                <a:cubicBezTo>
                  <a:pt x="246" y="333"/>
                  <a:pt x="239" y="330"/>
                  <a:pt x="234" y="33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Frutiger Next Pro Light"/>
              <a:ea typeface="+mn-ea"/>
              <a:cs typeface="+mn-cs"/>
            </a:endParaRPr>
          </a:p>
        </p:txBody>
      </p:sp>
      <p:sp>
        <p:nvSpPr>
          <p:cNvPr id="27" name="TextBox 26">
            <a:extLst>
              <a:ext uri="{FF2B5EF4-FFF2-40B4-BE49-F238E27FC236}">
                <a16:creationId xmlns:a16="http://schemas.microsoft.com/office/drawing/2014/main" id="{70F133BB-C0C9-E243-E982-2C487FAAF628}"/>
              </a:ext>
            </a:extLst>
          </p:cNvPr>
          <p:cNvSpPr txBox="1"/>
          <p:nvPr userDrawn="1"/>
        </p:nvSpPr>
        <p:spPr>
          <a:xfrm>
            <a:off x="10434202" y="4218872"/>
            <a:ext cx="165489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Frutiger Next Pro Light Italic"/>
                <a:ea typeface="+mn-ea"/>
                <a:cs typeface="+mn-cs"/>
              </a:rPr>
              <a:t>CREATE AGILE SUPPLY NETWORK</a:t>
            </a:r>
          </a:p>
        </p:txBody>
      </p:sp>
      <p:sp>
        <p:nvSpPr>
          <p:cNvPr id="28" name="Freeform 174">
            <a:extLst>
              <a:ext uri="{FF2B5EF4-FFF2-40B4-BE49-F238E27FC236}">
                <a16:creationId xmlns:a16="http://schemas.microsoft.com/office/drawing/2014/main" id="{21026D5C-8DC4-3F76-80AB-A8B5ADB1D898}"/>
              </a:ext>
            </a:extLst>
          </p:cNvPr>
          <p:cNvSpPr>
            <a:spLocks noChangeAspect="1" noEditPoints="1"/>
          </p:cNvSpPr>
          <p:nvPr userDrawn="1"/>
        </p:nvSpPr>
        <p:spPr bwMode="auto">
          <a:xfrm>
            <a:off x="10969865" y="3665308"/>
            <a:ext cx="489784" cy="48978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4 w 512"/>
              <a:gd name="T11" fmla="*/ 260 h 512"/>
              <a:gd name="T12" fmla="*/ 402 w 512"/>
              <a:gd name="T13" fmla="*/ 263 h 512"/>
              <a:gd name="T14" fmla="*/ 370 w 512"/>
              <a:gd name="T15" fmla="*/ 295 h 512"/>
              <a:gd name="T16" fmla="*/ 362 w 512"/>
              <a:gd name="T17" fmla="*/ 298 h 512"/>
              <a:gd name="T18" fmla="*/ 355 w 512"/>
              <a:gd name="T19" fmla="*/ 295 h 512"/>
              <a:gd name="T20" fmla="*/ 355 w 512"/>
              <a:gd name="T21" fmla="*/ 280 h 512"/>
              <a:gd name="T22" fmla="*/ 369 w 512"/>
              <a:gd name="T23" fmla="*/ 266 h 512"/>
              <a:gd name="T24" fmla="*/ 341 w 512"/>
              <a:gd name="T25" fmla="*/ 266 h 512"/>
              <a:gd name="T26" fmla="*/ 309 w 512"/>
              <a:gd name="T27" fmla="*/ 234 h 512"/>
              <a:gd name="T28" fmla="*/ 309 w 512"/>
              <a:gd name="T29" fmla="*/ 170 h 512"/>
              <a:gd name="T30" fmla="*/ 298 w 512"/>
              <a:gd name="T31" fmla="*/ 160 h 512"/>
              <a:gd name="T32" fmla="*/ 288 w 512"/>
              <a:gd name="T33" fmla="*/ 170 h 512"/>
              <a:gd name="T34" fmla="*/ 288 w 512"/>
              <a:gd name="T35" fmla="*/ 341 h 512"/>
              <a:gd name="T36" fmla="*/ 256 w 512"/>
              <a:gd name="T37" fmla="*/ 373 h 512"/>
              <a:gd name="T38" fmla="*/ 224 w 512"/>
              <a:gd name="T39" fmla="*/ 341 h 512"/>
              <a:gd name="T40" fmla="*/ 224 w 512"/>
              <a:gd name="T41" fmla="*/ 256 h 512"/>
              <a:gd name="T42" fmla="*/ 224 w 512"/>
              <a:gd name="T43" fmla="*/ 170 h 512"/>
              <a:gd name="T44" fmla="*/ 213 w 512"/>
              <a:gd name="T45" fmla="*/ 160 h 512"/>
              <a:gd name="T46" fmla="*/ 202 w 512"/>
              <a:gd name="T47" fmla="*/ 170 h 512"/>
              <a:gd name="T48" fmla="*/ 202 w 512"/>
              <a:gd name="T49" fmla="*/ 341 h 512"/>
              <a:gd name="T50" fmla="*/ 170 w 512"/>
              <a:gd name="T51" fmla="*/ 373 h 512"/>
              <a:gd name="T52" fmla="*/ 138 w 512"/>
              <a:gd name="T53" fmla="*/ 341 h 512"/>
              <a:gd name="T54" fmla="*/ 138 w 512"/>
              <a:gd name="T55" fmla="*/ 277 h 512"/>
              <a:gd name="T56" fmla="*/ 128 w 512"/>
              <a:gd name="T57" fmla="*/ 266 h 512"/>
              <a:gd name="T58" fmla="*/ 117 w 512"/>
              <a:gd name="T59" fmla="*/ 256 h 512"/>
              <a:gd name="T60" fmla="*/ 128 w 512"/>
              <a:gd name="T61" fmla="*/ 245 h 512"/>
              <a:gd name="T62" fmla="*/ 160 w 512"/>
              <a:gd name="T63" fmla="*/ 277 h 512"/>
              <a:gd name="T64" fmla="*/ 160 w 512"/>
              <a:gd name="T65" fmla="*/ 341 h 512"/>
              <a:gd name="T66" fmla="*/ 170 w 512"/>
              <a:gd name="T67" fmla="*/ 352 h 512"/>
              <a:gd name="T68" fmla="*/ 181 w 512"/>
              <a:gd name="T69" fmla="*/ 341 h 512"/>
              <a:gd name="T70" fmla="*/ 181 w 512"/>
              <a:gd name="T71" fmla="*/ 170 h 512"/>
              <a:gd name="T72" fmla="*/ 213 w 512"/>
              <a:gd name="T73" fmla="*/ 138 h 512"/>
              <a:gd name="T74" fmla="*/ 245 w 512"/>
              <a:gd name="T75" fmla="*/ 170 h 512"/>
              <a:gd name="T76" fmla="*/ 245 w 512"/>
              <a:gd name="T77" fmla="*/ 256 h 512"/>
              <a:gd name="T78" fmla="*/ 245 w 512"/>
              <a:gd name="T79" fmla="*/ 341 h 512"/>
              <a:gd name="T80" fmla="*/ 256 w 512"/>
              <a:gd name="T81" fmla="*/ 352 h 512"/>
              <a:gd name="T82" fmla="*/ 266 w 512"/>
              <a:gd name="T83" fmla="*/ 341 h 512"/>
              <a:gd name="T84" fmla="*/ 266 w 512"/>
              <a:gd name="T85" fmla="*/ 170 h 512"/>
              <a:gd name="T86" fmla="*/ 298 w 512"/>
              <a:gd name="T87" fmla="*/ 138 h 512"/>
              <a:gd name="T88" fmla="*/ 330 w 512"/>
              <a:gd name="T89" fmla="*/ 170 h 512"/>
              <a:gd name="T90" fmla="*/ 330 w 512"/>
              <a:gd name="T91" fmla="*/ 234 h 512"/>
              <a:gd name="T92" fmla="*/ 341 w 512"/>
              <a:gd name="T93" fmla="*/ 245 h 512"/>
              <a:gd name="T94" fmla="*/ 369 w 512"/>
              <a:gd name="T95" fmla="*/ 245 h 512"/>
              <a:gd name="T96" fmla="*/ 355 w 512"/>
              <a:gd name="T97" fmla="*/ 231 h 512"/>
              <a:gd name="T98" fmla="*/ 355 w 512"/>
              <a:gd name="T99" fmla="*/ 216 h 512"/>
              <a:gd name="T100" fmla="*/ 370 w 512"/>
              <a:gd name="T101" fmla="*/ 216 h 512"/>
              <a:gd name="T102" fmla="*/ 402 w 512"/>
              <a:gd name="T103" fmla="*/ 248 h 512"/>
              <a:gd name="T104" fmla="*/ 404 w 512"/>
              <a:gd name="T105" fmla="*/ 252 h 512"/>
              <a:gd name="T106" fmla="*/ 404 w 512"/>
              <a:gd name="T107"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4" y="260"/>
                </a:moveTo>
                <a:cubicBezTo>
                  <a:pt x="404" y="261"/>
                  <a:pt x="403" y="262"/>
                  <a:pt x="402" y="263"/>
                </a:cubicBezTo>
                <a:cubicBezTo>
                  <a:pt x="370" y="295"/>
                  <a:pt x="370" y="295"/>
                  <a:pt x="370" y="295"/>
                </a:cubicBezTo>
                <a:cubicBezTo>
                  <a:pt x="368" y="297"/>
                  <a:pt x="365" y="298"/>
                  <a:pt x="362" y="298"/>
                </a:cubicBezTo>
                <a:cubicBezTo>
                  <a:pt x="360" y="298"/>
                  <a:pt x="357" y="297"/>
                  <a:pt x="355" y="295"/>
                </a:cubicBezTo>
                <a:cubicBezTo>
                  <a:pt x="351" y="291"/>
                  <a:pt x="351" y="284"/>
                  <a:pt x="355" y="280"/>
                </a:cubicBezTo>
                <a:cubicBezTo>
                  <a:pt x="369" y="266"/>
                  <a:pt x="369" y="266"/>
                  <a:pt x="369" y="266"/>
                </a:cubicBezTo>
                <a:cubicBezTo>
                  <a:pt x="341" y="266"/>
                  <a:pt x="341" y="266"/>
                  <a:pt x="341" y="266"/>
                </a:cubicBezTo>
                <a:cubicBezTo>
                  <a:pt x="323" y="266"/>
                  <a:pt x="309" y="252"/>
                  <a:pt x="309" y="234"/>
                </a:cubicBezTo>
                <a:cubicBezTo>
                  <a:pt x="309" y="170"/>
                  <a:pt x="309" y="170"/>
                  <a:pt x="309" y="170"/>
                </a:cubicBezTo>
                <a:cubicBezTo>
                  <a:pt x="309" y="164"/>
                  <a:pt x="304" y="160"/>
                  <a:pt x="298" y="160"/>
                </a:cubicBezTo>
                <a:cubicBezTo>
                  <a:pt x="292" y="160"/>
                  <a:pt x="288" y="164"/>
                  <a:pt x="288" y="170"/>
                </a:cubicBezTo>
                <a:cubicBezTo>
                  <a:pt x="288" y="341"/>
                  <a:pt x="288" y="341"/>
                  <a:pt x="288" y="341"/>
                </a:cubicBezTo>
                <a:cubicBezTo>
                  <a:pt x="288" y="359"/>
                  <a:pt x="273" y="373"/>
                  <a:pt x="256" y="373"/>
                </a:cubicBezTo>
                <a:cubicBezTo>
                  <a:pt x="238" y="373"/>
                  <a:pt x="224" y="359"/>
                  <a:pt x="224" y="341"/>
                </a:cubicBezTo>
                <a:cubicBezTo>
                  <a:pt x="224" y="256"/>
                  <a:pt x="224" y="256"/>
                  <a:pt x="224" y="256"/>
                </a:cubicBezTo>
                <a:cubicBezTo>
                  <a:pt x="224" y="170"/>
                  <a:pt x="224" y="170"/>
                  <a:pt x="224" y="170"/>
                </a:cubicBezTo>
                <a:cubicBezTo>
                  <a:pt x="224" y="164"/>
                  <a:pt x="219" y="160"/>
                  <a:pt x="213" y="160"/>
                </a:cubicBezTo>
                <a:cubicBezTo>
                  <a:pt x="207" y="160"/>
                  <a:pt x="202" y="164"/>
                  <a:pt x="202" y="170"/>
                </a:cubicBezTo>
                <a:cubicBezTo>
                  <a:pt x="202" y="341"/>
                  <a:pt x="202" y="341"/>
                  <a:pt x="202" y="341"/>
                </a:cubicBezTo>
                <a:cubicBezTo>
                  <a:pt x="202" y="359"/>
                  <a:pt x="188" y="373"/>
                  <a:pt x="170" y="373"/>
                </a:cubicBezTo>
                <a:cubicBezTo>
                  <a:pt x="153" y="373"/>
                  <a:pt x="138" y="359"/>
                  <a:pt x="138" y="341"/>
                </a:cubicBezTo>
                <a:cubicBezTo>
                  <a:pt x="138" y="277"/>
                  <a:pt x="138" y="277"/>
                  <a:pt x="138" y="277"/>
                </a:cubicBezTo>
                <a:cubicBezTo>
                  <a:pt x="138" y="271"/>
                  <a:pt x="134" y="266"/>
                  <a:pt x="128" y="266"/>
                </a:cubicBezTo>
                <a:cubicBezTo>
                  <a:pt x="122" y="266"/>
                  <a:pt x="117" y="262"/>
                  <a:pt x="117" y="256"/>
                </a:cubicBezTo>
                <a:cubicBezTo>
                  <a:pt x="117" y="250"/>
                  <a:pt x="122" y="245"/>
                  <a:pt x="128" y="245"/>
                </a:cubicBezTo>
                <a:cubicBezTo>
                  <a:pt x="145" y="245"/>
                  <a:pt x="160" y="259"/>
                  <a:pt x="160" y="277"/>
                </a:cubicBezTo>
                <a:cubicBezTo>
                  <a:pt x="160" y="341"/>
                  <a:pt x="160" y="341"/>
                  <a:pt x="160" y="341"/>
                </a:cubicBezTo>
                <a:cubicBezTo>
                  <a:pt x="160" y="347"/>
                  <a:pt x="164" y="352"/>
                  <a:pt x="170" y="352"/>
                </a:cubicBezTo>
                <a:cubicBezTo>
                  <a:pt x="176" y="352"/>
                  <a:pt x="181" y="347"/>
                  <a:pt x="181" y="341"/>
                </a:cubicBezTo>
                <a:cubicBezTo>
                  <a:pt x="181" y="170"/>
                  <a:pt x="181" y="170"/>
                  <a:pt x="181" y="170"/>
                </a:cubicBezTo>
                <a:cubicBezTo>
                  <a:pt x="181" y="153"/>
                  <a:pt x="195" y="138"/>
                  <a:pt x="213" y="138"/>
                </a:cubicBezTo>
                <a:cubicBezTo>
                  <a:pt x="231" y="138"/>
                  <a:pt x="245" y="153"/>
                  <a:pt x="245" y="170"/>
                </a:cubicBezTo>
                <a:cubicBezTo>
                  <a:pt x="245" y="256"/>
                  <a:pt x="245" y="256"/>
                  <a:pt x="245" y="256"/>
                </a:cubicBezTo>
                <a:cubicBezTo>
                  <a:pt x="245" y="341"/>
                  <a:pt x="245" y="341"/>
                  <a:pt x="245" y="341"/>
                </a:cubicBezTo>
                <a:cubicBezTo>
                  <a:pt x="245" y="347"/>
                  <a:pt x="250" y="352"/>
                  <a:pt x="256" y="352"/>
                </a:cubicBezTo>
                <a:cubicBezTo>
                  <a:pt x="262" y="352"/>
                  <a:pt x="266" y="347"/>
                  <a:pt x="266" y="341"/>
                </a:cubicBezTo>
                <a:cubicBezTo>
                  <a:pt x="266" y="170"/>
                  <a:pt x="266" y="170"/>
                  <a:pt x="266" y="170"/>
                </a:cubicBezTo>
                <a:cubicBezTo>
                  <a:pt x="266" y="153"/>
                  <a:pt x="281" y="138"/>
                  <a:pt x="298" y="138"/>
                </a:cubicBezTo>
                <a:cubicBezTo>
                  <a:pt x="316" y="138"/>
                  <a:pt x="330" y="153"/>
                  <a:pt x="330" y="170"/>
                </a:cubicBezTo>
                <a:cubicBezTo>
                  <a:pt x="330" y="234"/>
                  <a:pt x="330" y="234"/>
                  <a:pt x="330" y="234"/>
                </a:cubicBezTo>
                <a:cubicBezTo>
                  <a:pt x="330" y="240"/>
                  <a:pt x="335" y="245"/>
                  <a:pt x="341" y="245"/>
                </a:cubicBezTo>
                <a:cubicBezTo>
                  <a:pt x="369" y="245"/>
                  <a:pt x="369" y="245"/>
                  <a:pt x="369" y="245"/>
                </a:cubicBezTo>
                <a:cubicBezTo>
                  <a:pt x="355" y="231"/>
                  <a:pt x="355" y="231"/>
                  <a:pt x="355" y="231"/>
                </a:cubicBezTo>
                <a:cubicBezTo>
                  <a:pt x="351" y="227"/>
                  <a:pt x="351" y="220"/>
                  <a:pt x="355" y="216"/>
                </a:cubicBezTo>
                <a:cubicBezTo>
                  <a:pt x="359" y="212"/>
                  <a:pt x="366" y="212"/>
                  <a:pt x="370" y="216"/>
                </a:cubicBezTo>
                <a:cubicBezTo>
                  <a:pt x="402" y="248"/>
                  <a:pt x="402" y="248"/>
                  <a:pt x="402" y="248"/>
                </a:cubicBezTo>
                <a:cubicBezTo>
                  <a:pt x="403" y="249"/>
                  <a:pt x="404" y="250"/>
                  <a:pt x="404" y="252"/>
                </a:cubicBezTo>
                <a:cubicBezTo>
                  <a:pt x="405" y="254"/>
                  <a:pt x="405" y="257"/>
                  <a:pt x="404" y="26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Frutiger Next Pro Light"/>
              <a:ea typeface="+mn-ea"/>
              <a:cs typeface="+mn-cs"/>
            </a:endParaRPr>
          </a:p>
        </p:txBody>
      </p:sp>
      <p:cxnSp>
        <p:nvCxnSpPr>
          <p:cNvPr id="29" name="Straight Connector 28">
            <a:extLst>
              <a:ext uri="{FF2B5EF4-FFF2-40B4-BE49-F238E27FC236}">
                <a16:creationId xmlns:a16="http://schemas.microsoft.com/office/drawing/2014/main" id="{3267B621-D93A-349E-1FBC-AEAD3AA6A39B}"/>
              </a:ext>
            </a:extLst>
          </p:cNvPr>
          <p:cNvCxnSpPr>
            <a:endCxn id="28" idx="0"/>
          </p:cNvCxnSpPr>
          <p:nvPr userDrawn="1"/>
        </p:nvCxnSpPr>
        <p:spPr>
          <a:xfrm>
            <a:off x="11214757" y="3050285"/>
            <a:ext cx="0" cy="615023"/>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32D4B74D-1455-705E-5AE2-DF92D92FF9F4}"/>
              </a:ext>
            </a:extLst>
          </p:cNvPr>
          <p:cNvSpPr/>
          <p:nvPr userDrawn="1"/>
        </p:nvSpPr>
        <p:spPr>
          <a:xfrm>
            <a:off x="828037" y="2214323"/>
            <a:ext cx="10949156"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accent1"/>
                </a:solidFill>
                <a:effectLst/>
                <a:uLnTx/>
                <a:uFillTx/>
                <a:latin typeface="Frutiger Next Pro Light Italic"/>
                <a:ea typeface="+mn-ea"/>
                <a:cs typeface="+mn-cs"/>
              </a:rPr>
              <a:t>Clients are not looking to buy technologies, they are looking for solutions to business problems.</a:t>
            </a:r>
          </a:p>
        </p:txBody>
      </p:sp>
      <p:sp>
        <p:nvSpPr>
          <p:cNvPr id="32" name="TextBox 31">
            <a:extLst>
              <a:ext uri="{FF2B5EF4-FFF2-40B4-BE49-F238E27FC236}">
                <a16:creationId xmlns:a16="http://schemas.microsoft.com/office/drawing/2014/main" id="{BDB8E7D4-E46F-EAE3-976B-0D697BEF6298}"/>
              </a:ext>
            </a:extLst>
          </p:cNvPr>
          <p:cNvSpPr txBox="1"/>
          <p:nvPr userDrawn="1"/>
        </p:nvSpPr>
        <p:spPr>
          <a:xfrm>
            <a:off x="8460573" y="4535696"/>
            <a:ext cx="2035534"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Frutiger Next Pro Light Italic"/>
                <a:ea typeface="+mn-ea"/>
                <a:cs typeface="+mn-cs"/>
              </a:rPr>
              <a:t>LESSEN IMPACT FROM ENGINEERING CHANGES</a:t>
            </a:r>
          </a:p>
        </p:txBody>
      </p:sp>
      <p:cxnSp>
        <p:nvCxnSpPr>
          <p:cNvPr id="33" name="Straight Connector 32">
            <a:extLst>
              <a:ext uri="{FF2B5EF4-FFF2-40B4-BE49-F238E27FC236}">
                <a16:creationId xmlns:a16="http://schemas.microsoft.com/office/drawing/2014/main" id="{B4ACD1C3-CFD4-47D2-CEDD-7409D24DD591}"/>
              </a:ext>
            </a:extLst>
          </p:cNvPr>
          <p:cNvCxnSpPr/>
          <p:nvPr userDrawn="1"/>
        </p:nvCxnSpPr>
        <p:spPr>
          <a:xfrm>
            <a:off x="9506553" y="3194051"/>
            <a:ext cx="0" cy="799889"/>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66EE3ABF-22CE-2961-4F1C-1BBE5FF92EF5}"/>
              </a:ext>
            </a:extLst>
          </p:cNvPr>
          <p:cNvSpPr txBox="1"/>
          <p:nvPr userDrawn="1"/>
        </p:nvSpPr>
        <p:spPr>
          <a:xfrm>
            <a:off x="6671993" y="4208621"/>
            <a:ext cx="185048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Frutiger Next Pro Light Italic"/>
                <a:ea typeface="+mn-ea"/>
                <a:cs typeface="+mn-cs"/>
              </a:rPr>
              <a:t>DECREASE NPI TIME</a:t>
            </a:r>
          </a:p>
        </p:txBody>
      </p:sp>
      <p:sp>
        <p:nvSpPr>
          <p:cNvPr id="35" name="Freeform 940">
            <a:extLst>
              <a:ext uri="{FF2B5EF4-FFF2-40B4-BE49-F238E27FC236}">
                <a16:creationId xmlns:a16="http://schemas.microsoft.com/office/drawing/2014/main" id="{0DD631F0-0D19-7189-A24A-42C47055B6DE}"/>
              </a:ext>
            </a:extLst>
          </p:cNvPr>
          <p:cNvSpPr>
            <a:spLocks noChangeAspect="1" noEditPoints="1"/>
          </p:cNvSpPr>
          <p:nvPr userDrawn="1"/>
        </p:nvSpPr>
        <p:spPr bwMode="auto">
          <a:xfrm>
            <a:off x="5811448" y="4041646"/>
            <a:ext cx="491167" cy="491167"/>
          </a:xfrm>
          <a:custGeom>
            <a:avLst/>
            <a:gdLst>
              <a:gd name="T0" fmla="*/ 361 w 512"/>
              <a:gd name="T1" fmla="*/ 188 h 512"/>
              <a:gd name="T2" fmla="*/ 391 w 512"/>
              <a:gd name="T3" fmla="*/ 309 h 512"/>
              <a:gd name="T4" fmla="*/ 324 w 512"/>
              <a:gd name="T5" fmla="*/ 309 h 512"/>
              <a:gd name="T6" fmla="*/ 361 w 512"/>
              <a:gd name="T7" fmla="*/ 188 h 512"/>
              <a:gd name="T8" fmla="*/ 121 w 512"/>
              <a:gd name="T9" fmla="*/ 309 h 512"/>
              <a:gd name="T10" fmla="*/ 189 w 512"/>
              <a:gd name="T11" fmla="*/ 309 h 512"/>
              <a:gd name="T12" fmla="*/ 159 w 512"/>
              <a:gd name="T13" fmla="*/ 188 h 512"/>
              <a:gd name="T14" fmla="*/ 121 w 512"/>
              <a:gd name="T15" fmla="*/ 309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5 w 512"/>
              <a:gd name="T27" fmla="*/ 317 h 512"/>
              <a:gd name="T28" fmla="*/ 373 w 512"/>
              <a:gd name="T29" fmla="*/ 146 h 512"/>
              <a:gd name="T30" fmla="*/ 372 w 512"/>
              <a:gd name="T31" fmla="*/ 146 h 512"/>
              <a:gd name="T32" fmla="*/ 372 w 512"/>
              <a:gd name="T33" fmla="*/ 144 h 512"/>
              <a:gd name="T34" fmla="*/ 370 w 512"/>
              <a:gd name="T35" fmla="*/ 142 h 512"/>
              <a:gd name="T36" fmla="*/ 369 w 512"/>
              <a:gd name="T37" fmla="*/ 141 h 512"/>
              <a:gd name="T38" fmla="*/ 367 w 512"/>
              <a:gd name="T39" fmla="*/ 140 h 512"/>
              <a:gd name="T40" fmla="*/ 366 w 512"/>
              <a:gd name="T41" fmla="*/ 139 h 512"/>
              <a:gd name="T42" fmla="*/ 363 w 512"/>
              <a:gd name="T43" fmla="*/ 138 h 512"/>
              <a:gd name="T44" fmla="*/ 362 w 512"/>
              <a:gd name="T45" fmla="*/ 138 h 512"/>
              <a:gd name="T46" fmla="*/ 362 w 512"/>
              <a:gd name="T47" fmla="*/ 138 h 512"/>
              <a:gd name="T48" fmla="*/ 266 w 512"/>
              <a:gd name="T49" fmla="*/ 138 h 512"/>
              <a:gd name="T50" fmla="*/ 266 w 512"/>
              <a:gd name="T51" fmla="*/ 106 h 512"/>
              <a:gd name="T52" fmla="*/ 256 w 512"/>
              <a:gd name="T53" fmla="*/ 96 h 512"/>
              <a:gd name="T54" fmla="*/ 245 w 512"/>
              <a:gd name="T55" fmla="*/ 106 h 512"/>
              <a:gd name="T56" fmla="*/ 245 w 512"/>
              <a:gd name="T57" fmla="*/ 138 h 512"/>
              <a:gd name="T58" fmla="*/ 160 w 512"/>
              <a:gd name="T59" fmla="*/ 138 h 512"/>
              <a:gd name="T60" fmla="*/ 159 w 512"/>
              <a:gd name="T61" fmla="*/ 138 h 512"/>
              <a:gd name="T62" fmla="*/ 156 w 512"/>
              <a:gd name="T63" fmla="*/ 139 h 512"/>
              <a:gd name="T64" fmla="*/ 155 w 512"/>
              <a:gd name="T65" fmla="*/ 140 h 512"/>
              <a:gd name="T66" fmla="*/ 153 w 512"/>
              <a:gd name="T67" fmla="*/ 141 h 512"/>
              <a:gd name="T68" fmla="*/ 152 w 512"/>
              <a:gd name="T69" fmla="*/ 142 h 512"/>
              <a:gd name="T70" fmla="*/ 150 w 512"/>
              <a:gd name="T71" fmla="*/ 144 h 512"/>
              <a:gd name="T72" fmla="*/ 150 w 512"/>
              <a:gd name="T73" fmla="*/ 145 h 512"/>
              <a:gd name="T74" fmla="*/ 149 w 512"/>
              <a:gd name="T75" fmla="*/ 146 h 512"/>
              <a:gd name="T76" fmla="*/ 96 w 512"/>
              <a:gd name="T77" fmla="*/ 316 h 512"/>
              <a:gd name="T78" fmla="*/ 98 w 512"/>
              <a:gd name="T79" fmla="*/ 326 h 512"/>
              <a:gd name="T80" fmla="*/ 106 w 512"/>
              <a:gd name="T81" fmla="*/ 330 h 512"/>
              <a:gd name="T82" fmla="*/ 202 w 512"/>
              <a:gd name="T83" fmla="*/ 330 h 512"/>
              <a:gd name="T84" fmla="*/ 211 w 512"/>
              <a:gd name="T85" fmla="*/ 326 h 512"/>
              <a:gd name="T86" fmla="*/ 213 w 512"/>
              <a:gd name="T87" fmla="*/ 317 h 512"/>
              <a:gd name="T88" fmla="*/ 173 w 512"/>
              <a:gd name="T89" fmla="*/ 160 h 512"/>
              <a:gd name="T90" fmla="*/ 245 w 512"/>
              <a:gd name="T91" fmla="*/ 160 h 512"/>
              <a:gd name="T92" fmla="*/ 245 w 512"/>
              <a:gd name="T93" fmla="*/ 394 h 512"/>
              <a:gd name="T94" fmla="*/ 192 w 512"/>
              <a:gd name="T95" fmla="*/ 394 h 512"/>
              <a:gd name="T96" fmla="*/ 181 w 512"/>
              <a:gd name="T97" fmla="*/ 405 h 512"/>
              <a:gd name="T98" fmla="*/ 192 w 512"/>
              <a:gd name="T99" fmla="*/ 416 h 512"/>
              <a:gd name="T100" fmla="*/ 320 w 512"/>
              <a:gd name="T101" fmla="*/ 416 h 512"/>
              <a:gd name="T102" fmla="*/ 330 w 512"/>
              <a:gd name="T103" fmla="*/ 405 h 512"/>
              <a:gd name="T104" fmla="*/ 320 w 512"/>
              <a:gd name="T105" fmla="*/ 394 h 512"/>
              <a:gd name="T106" fmla="*/ 266 w 512"/>
              <a:gd name="T107" fmla="*/ 394 h 512"/>
              <a:gd name="T108" fmla="*/ 266 w 512"/>
              <a:gd name="T109" fmla="*/ 160 h 512"/>
              <a:gd name="T110" fmla="*/ 348 w 512"/>
              <a:gd name="T111" fmla="*/ 160 h 512"/>
              <a:gd name="T112" fmla="*/ 299 w 512"/>
              <a:gd name="T113" fmla="*/ 316 h 512"/>
              <a:gd name="T114" fmla="*/ 300 w 512"/>
              <a:gd name="T115" fmla="*/ 326 h 512"/>
              <a:gd name="T116" fmla="*/ 309 w 512"/>
              <a:gd name="T117" fmla="*/ 330 h 512"/>
              <a:gd name="T118" fmla="*/ 405 w 512"/>
              <a:gd name="T119" fmla="*/ 330 h 512"/>
              <a:gd name="T120" fmla="*/ 413 w 512"/>
              <a:gd name="T121" fmla="*/ 326 h 512"/>
              <a:gd name="T122" fmla="*/ 415 w 512"/>
              <a:gd name="T123" fmla="*/ 3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61" y="188"/>
                </a:moveTo>
                <a:cubicBezTo>
                  <a:pt x="391" y="309"/>
                  <a:pt x="391" y="309"/>
                  <a:pt x="391" y="309"/>
                </a:cubicBezTo>
                <a:cubicBezTo>
                  <a:pt x="324" y="309"/>
                  <a:pt x="324" y="309"/>
                  <a:pt x="324" y="309"/>
                </a:cubicBezTo>
                <a:lnTo>
                  <a:pt x="361" y="188"/>
                </a:lnTo>
                <a:close/>
                <a:moveTo>
                  <a:pt x="121" y="309"/>
                </a:moveTo>
                <a:cubicBezTo>
                  <a:pt x="189" y="309"/>
                  <a:pt x="189" y="309"/>
                  <a:pt x="189" y="309"/>
                </a:cubicBezTo>
                <a:cubicBezTo>
                  <a:pt x="159" y="188"/>
                  <a:pt x="159" y="188"/>
                  <a:pt x="159" y="188"/>
                </a:cubicBezTo>
                <a:lnTo>
                  <a:pt x="121"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317"/>
                </a:moveTo>
                <a:cubicBezTo>
                  <a:pt x="373" y="146"/>
                  <a:pt x="373" y="146"/>
                  <a:pt x="373" y="146"/>
                </a:cubicBezTo>
                <a:cubicBezTo>
                  <a:pt x="373" y="146"/>
                  <a:pt x="372" y="146"/>
                  <a:pt x="372" y="146"/>
                </a:cubicBezTo>
                <a:cubicBezTo>
                  <a:pt x="372" y="145"/>
                  <a:pt x="372" y="145"/>
                  <a:pt x="372" y="144"/>
                </a:cubicBezTo>
                <a:cubicBezTo>
                  <a:pt x="371" y="143"/>
                  <a:pt x="371" y="143"/>
                  <a:pt x="370" y="142"/>
                </a:cubicBezTo>
                <a:cubicBezTo>
                  <a:pt x="370" y="142"/>
                  <a:pt x="370" y="141"/>
                  <a:pt x="369" y="141"/>
                </a:cubicBezTo>
                <a:cubicBezTo>
                  <a:pt x="369" y="141"/>
                  <a:pt x="368" y="140"/>
                  <a:pt x="367" y="140"/>
                </a:cubicBezTo>
                <a:cubicBezTo>
                  <a:pt x="367" y="139"/>
                  <a:pt x="367" y="139"/>
                  <a:pt x="366" y="139"/>
                </a:cubicBezTo>
                <a:cubicBezTo>
                  <a:pt x="365" y="139"/>
                  <a:pt x="364" y="138"/>
                  <a:pt x="363" y="138"/>
                </a:cubicBezTo>
                <a:cubicBezTo>
                  <a:pt x="363" y="138"/>
                  <a:pt x="363" y="138"/>
                  <a:pt x="362" y="138"/>
                </a:cubicBezTo>
                <a:cubicBezTo>
                  <a:pt x="362" y="138"/>
                  <a:pt x="362" y="138"/>
                  <a:pt x="362"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160" y="138"/>
                  <a:pt x="160" y="138"/>
                  <a:pt x="160" y="138"/>
                </a:cubicBezTo>
                <a:cubicBezTo>
                  <a:pt x="159" y="138"/>
                  <a:pt x="159" y="138"/>
                  <a:pt x="159" y="138"/>
                </a:cubicBezTo>
                <a:cubicBezTo>
                  <a:pt x="158" y="139"/>
                  <a:pt x="157" y="139"/>
                  <a:pt x="156" y="139"/>
                </a:cubicBezTo>
                <a:cubicBezTo>
                  <a:pt x="156" y="139"/>
                  <a:pt x="155" y="139"/>
                  <a:pt x="155" y="140"/>
                </a:cubicBezTo>
                <a:cubicBezTo>
                  <a:pt x="154" y="140"/>
                  <a:pt x="153" y="141"/>
                  <a:pt x="153" y="141"/>
                </a:cubicBezTo>
                <a:cubicBezTo>
                  <a:pt x="152" y="141"/>
                  <a:pt x="152" y="142"/>
                  <a:pt x="152" y="142"/>
                </a:cubicBezTo>
                <a:cubicBezTo>
                  <a:pt x="151" y="143"/>
                  <a:pt x="151" y="143"/>
                  <a:pt x="150" y="144"/>
                </a:cubicBezTo>
                <a:cubicBezTo>
                  <a:pt x="150" y="145"/>
                  <a:pt x="150" y="145"/>
                  <a:pt x="150" y="145"/>
                </a:cubicBezTo>
                <a:cubicBezTo>
                  <a:pt x="150" y="145"/>
                  <a:pt x="150" y="146"/>
                  <a:pt x="149" y="146"/>
                </a:cubicBezTo>
                <a:cubicBezTo>
                  <a:pt x="96" y="316"/>
                  <a:pt x="96" y="316"/>
                  <a:pt x="96" y="316"/>
                </a:cubicBezTo>
                <a:cubicBezTo>
                  <a:pt x="95" y="320"/>
                  <a:pt x="96" y="323"/>
                  <a:pt x="98" y="326"/>
                </a:cubicBezTo>
                <a:cubicBezTo>
                  <a:pt x="100" y="329"/>
                  <a:pt x="103" y="330"/>
                  <a:pt x="106" y="330"/>
                </a:cubicBezTo>
                <a:cubicBezTo>
                  <a:pt x="202" y="330"/>
                  <a:pt x="202" y="330"/>
                  <a:pt x="202" y="330"/>
                </a:cubicBezTo>
                <a:cubicBezTo>
                  <a:pt x="206" y="330"/>
                  <a:pt x="209" y="329"/>
                  <a:pt x="211" y="326"/>
                </a:cubicBezTo>
                <a:cubicBezTo>
                  <a:pt x="213" y="324"/>
                  <a:pt x="213" y="320"/>
                  <a:pt x="213" y="317"/>
                </a:cubicBezTo>
                <a:cubicBezTo>
                  <a:pt x="173" y="160"/>
                  <a:pt x="173" y="160"/>
                  <a:pt x="173" y="160"/>
                </a:cubicBezTo>
                <a:cubicBezTo>
                  <a:pt x="245" y="160"/>
                  <a:pt x="245" y="160"/>
                  <a:pt x="245" y="160"/>
                </a:cubicBezTo>
                <a:cubicBezTo>
                  <a:pt x="245" y="394"/>
                  <a:pt x="245" y="394"/>
                  <a:pt x="245" y="394"/>
                </a:cubicBezTo>
                <a:cubicBezTo>
                  <a:pt x="192" y="394"/>
                  <a:pt x="192" y="394"/>
                  <a:pt x="192" y="394"/>
                </a:cubicBezTo>
                <a:cubicBezTo>
                  <a:pt x="186" y="394"/>
                  <a:pt x="181" y="399"/>
                  <a:pt x="181" y="405"/>
                </a:cubicBezTo>
                <a:cubicBezTo>
                  <a:pt x="181" y="411"/>
                  <a:pt x="186" y="416"/>
                  <a:pt x="192" y="416"/>
                </a:cubicBezTo>
                <a:cubicBezTo>
                  <a:pt x="320" y="416"/>
                  <a:pt x="320" y="416"/>
                  <a:pt x="320" y="416"/>
                </a:cubicBezTo>
                <a:cubicBezTo>
                  <a:pt x="326" y="416"/>
                  <a:pt x="330" y="411"/>
                  <a:pt x="330" y="405"/>
                </a:cubicBezTo>
                <a:cubicBezTo>
                  <a:pt x="330" y="399"/>
                  <a:pt x="326" y="394"/>
                  <a:pt x="320" y="394"/>
                </a:cubicBezTo>
                <a:cubicBezTo>
                  <a:pt x="266" y="394"/>
                  <a:pt x="266" y="394"/>
                  <a:pt x="266" y="394"/>
                </a:cubicBezTo>
                <a:cubicBezTo>
                  <a:pt x="266" y="160"/>
                  <a:pt x="266" y="160"/>
                  <a:pt x="266" y="160"/>
                </a:cubicBezTo>
                <a:cubicBezTo>
                  <a:pt x="348" y="160"/>
                  <a:pt x="348" y="160"/>
                  <a:pt x="348" y="160"/>
                </a:cubicBezTo>
                <a:cubicBezTo>
                  <a:pt x="299" y="316"/>
                  <a:pt x="299" y="316"/>
                  <a:pt x="299" y="316"/>
                </a:cubicBezTo>
                <a:cubicBezTo>
                  <a:pt x="298" y="320"/>
                  <a:pt x="298" y="323"/>
                  <a:pt x="300" y="326"/>
                </a:cubicBezTo>
                <a:cubicBezTo>
                  <a:pt x="302" y="329"/>
                  <a:pt x="306" y="330"/>
                  <a:pt x="309" y="330"/>
                </a:cubicBezTo>
                <a:cubicBezTo>
                  <a:pt x="405" y="330"/>
                  <a:pt x="405" y="330"/>
                  <a:pt x="405" y="330"/>
                </a:cubicBezTo>
                <a:cubicBezTo>
                  <a:pt x="408" y="330"/>
                  <a:pt x="411" y="329"/>
                  <a:pt x="413" y="326"/>
                </a:cubicBezTo>
                <a:cubicBezTo>
                  <a:pt x="415" y="324"/>
                  <a:pt x="416" y="320"/>
                  <a:pt x="415" y="317"/>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Frutiger Next Pro Light"/>
              <a:ea typeface="+mn-ea"/>
              <a:cs typeface="+mn-cs"/>
            </a:endParaRPr>
          </a:p>
        </p:txBody>
      </p:sp>
      <p:cxnSp>
        <p:nvCxnSpPr>
          <p:cNvPr id="36" name="Straight Connector 35">
            <a:extLst>
              <a:ext uri="{FF2B5EF4-FFF2-40B4-BE49-F238E27FC236}">
                <a16:creationId xmlns:a16="http://schemas.microsoft.com/office/drawing/2014/main" id="{F78F9D97-3B4C-B2CF-993A-1D38E28E501C}"/>
              </a:ext>
            </a:extLst>
          </p:cNvPr>
          <p:cNvCxnSpPr/>
          <p:nvPr userDrawn="1"/>
        </p:nvCxnSpPr>
        <p:spPr>
          <a:xfrm>
            <a:off x="7623419" y="3135663"/>
            <a:ext cx="0" cy="553498"/>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7" name="Freeform 48">
            <a:extLst>
              <a:ext uri="{FF2B5EF4-FFF2-40B4-BE49-F238E27FC236}">
                <a16:creationId xmlns:a16="http://schemas.microsoft.com/office/drawing/2014/main" id="{CE92F48F-28FC-06D5-6D8E-399E38194C18}"/>
              </a:ext>
            </a:extLst>
          </p:cNvPr>
          <p:cNvSpPr>
            <a:spLocks noChangeAspect="1" noEditPoints="1"/>
          </p:cNvSpPr>
          <p:nvPr userDrawn="1"/>
        </p:nvSpPr>
        <p:spPr bwMode="auto">
          <a:xfrm>
            <a:off x="7378414" y="3689887"/>
            <a:ext cx="490010" cy="49001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9 w 512"/>
              <a:gd name="T11" fmla="*/ 327 h 512"/>
              <a:gd name="T12" fmla="*/ 263 w 512"/>
              <a:gd name="T13" fmla="*/ 413 h 512"/>
              <a:gd name="T14" fmla="*/ 260 w 512"/>
              <a:gd name="T15" fmla="*/ 415 h 512"/>
              <a:gd name="T16" fmla="*/ 256 w 512"/>
              <a:gd name="T17" fmla="*/ 416 h 512"/>
              <a:gd name="T18" fmla="*/ 252 w 512"/>
              <a:gd name="T19" fmla="*/ 415 h 512"/>
              <a:gd name="T20" fmla="*/ 248 w 512"/>
              <a:gd name="T21" fmla="*/ 413 h 512"/>
              <a:gd name="T22" fmla="*/ 163 w 512"/>
              <a:gd name="T23" fmla="*/ 327 h 512"/>
              <a:gd name="T24" fmla="*/ 163 w 512"/>
              <a:gd name="T25" fmla="*/ 312 h 512"/>
              <a:gd name="T26" fmla="*/ 178 w 512"/>
              <a:gd name="T27" fmla="*/ 312 h 512"/>
              <a:gd name="T28" fmla="*/ 245 w 512"/>
              <a:gd name="T29" fmla="*/ 379 h 512"/>
              <a:gd name="T30" fmla="*/ 245 w 512"/>
              <a:gd name="T31" fmla="*/ 106 h 512"/>
              <a:gd name="T32" fmla="*/ 256 w 512"/>
              <a:gd name="T33" fmla="*/ 96 h 512"/>
              <a:gd name="T34" fmla="*/ 266 w 512"/>
              <a:gd name="T35" fmla="*/ 106 h 512"/>
              <a:gd name="T36" fmla="*/ 266 w 512"/>
              <a:gd name="T37" fmla="*/ 379 h 512"/>
              <a:gd name="T38" fmla="*/ 333 w 512"/>
              <a:gd name="T39" fmla="*/ 312 h 512"/>
              <a:gd name="T40" fmla="*/ 349 w 512"/>
              <a:gd name="T41" fmla="*/ 312 h 512"/>
              <a:gd name="T42" fmla="*/ 349 w 512"/>
              <a:gd name="T43" fmla="*/ 32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9" y="327"/>
                </a:moveTo>
                <a:cubicBezTo>
                  <a:pt x="263" y="413"/>
                  <a:pt x="263" y="413"/>
                  <a:pt x="263" y="413"/>
                </a:cubicBezTo>
                <a:cubicBezTo>
                  <a:pt x="262" y="414"/>
                  <a:pt x="261" y="414"/>
                  <a:pt x="260" y="415"/>
                </a:cubicBezTo>
                <a:cubicBezTo>
                  <a:pt x="258" y="415"/>
                  <a:pt x="257" y="416"/>
                  <a:pt x="256" y="416"/>
                </a:cubicBezTo>
                <a:cubicBezTo>
                  <a:pt x="254" y="416"/>
                  <a:pt x="253" y="415"/>
                  <a:pt x="252" y="415"/>
                </a:cubicBezTo>
                <a:cubicBezTo>
                  <a:pt x="250" y="414"/>
                  <a:pt x="249" y="414"/>
                  <a:pt x="248" y="413"/>
                </a:cubicBezTo>
                <a:cubicBezTo>
                  <a:pt x="163" y="327"/>
                  <a:pt x="163" y="327"/>
                  <a:pt x="163" y="327"/>
                </a:cubicBezTo>
                <a:cubicBezTo>
                  <a:pt x="159" y="323"/>
                  <a:pt x="159" y="316"/>
                  <a:pt x="163" y="312"/>
                </a:cubicBezTo>
                <a:cubicBezTo>
                  <a:pt x="167" y="308"/>
                  <a:pt x="174" y="308"/>
                  <a:pt x="178" y="312"/>
                </a:cubicBezTo>
                <a:cubicBezTo>
                  <a:pt x="245" y="379"/>
                  <a:pt x="245" y="379"/>
                  <a:pt x="245" y="379"/>
                </a:cubicBezTo>
                <a:cubicBezTo>
                  <a:pt x="245" y="106"/>
                  <a:pt x="245" y="106"/>
                  <a:pt x="245" y="106"/>
                </a:cubicBezTo>
                <a:cubicBezTo>
                  <a:pt x="245" y="100"/>
                  <a:pt x="250" y="96"/>
                  <a:pt x="256" y="96"/>
                </a:cubicBezTo>
                <a:cubicBezTo>
                  <a:pt x="262" y="96"/>
                  <a:pt x="266" y="100"/>
                  <a:pt x="266" y="106"/>
                </a:cubicBezTo>
                <a:cubicBezTo>
                  <a:pt x="266" y="379"/>
                  <a:pt x="266" y="379"/>
                  <a:pt x="266" y="379"/>
                </a:cubicBezTo>
                <a:cubicBezTo>
                  <a:pt x="333" y="312"/>
                  <a:pt x="333" y="312"/>
                  <a:pt x="333" y="312"/>
                </a:cubicBezTo>
                <a:cubicBezTo>
                  <a:pt x="338" y="308"/>
                  <a:pt x="344" y="308"/>
                  <a:pt x="349" y="312"/>
                </a:cubicBezTo>
                <a:cubicBezTo>
                  <a:pt x="353" y="316"/>
                  <a:pt x="353" y="323"/>
                  <a:pt x="349" y="327"/>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Frutiger Next Pro Light"/>
              <a:ea typeface="+mn-ea"/>
              <a:cs typeface="+mn-cs"/>
            </a:endParaRPr>
          </a:p>
        </p:txBody>
      </p:sp>
      <p:sp>
        <p:nvSpPr>
          <p:cNvPr id="38" name="Freeform 124">
            <a:extLst>
              <a:ext uri="{FF2B5EF4-FFF2-40B4-BE49-F238E27FC236}">
                <a16:creationId xmlns:a16="http://schemas.microsoft.com/office/drawing/2014/main" id="{316EDBFA-6194-B8D1-BE5E-7978FA2C7A0C}"/>
              </a:ext>
            </a:extLst>
          </p:cNvPr>
          <p:cNvSpPr>
            <a:spLocks noChangeAspect="1" noEditPoints="1"/>
          </p:cNvSpPr>
          <p:nvPr userDrawn="1"/>
        </p:nvSpPr>
        <p:spPr bwMode="auto">
          <a:xfrm>
            <a:off x="9259810" y="3993940"/>
            <a:ext cx="493485" cy="492039"/>
          </a:xfrm>
          <a:custGeom>
            <a:avLst/>
            <a:gdLst>
              <a:gd name="T0" fmla="*/ 0 w 512"/>
              <a:gd name="T1" fmla="*/ 256 h 512"/>
              <a:gd name="T2" fmla="*/ 512 w 512"/>
              <a:gd name="T3" fmla="*/ 256 h 512"/>
              <a:gd name="T4" fmla="*/ 237 w 512"/>
              <a:gd name="T5" fmla="*/ 342 h 512"/>
              <a:gd name="T6" fmla="*/ 206 w 512"/>
              <a:gd name="T7" fmla="*/ 372 h 512"/>
              <a:gd name="T8" fmla="*/ 198 w 512"/>
              <a:gd name="T9" fmla="*/ 372 h 512"/>
              <a:gd name="T10" fmla="*/ 167 w 512"/>
              <a:gd name="T11" fmla="*/ 342 h 512"/>
              <a:gd name="T12" fmla="*/ 182 w 512"/>
              <a:gd name="T13" fmla="*/ 327 h 512"/>
              <a:gd name="T14" fmla="*/ 192 w 512"/>
              <a:gd name="T15" fmla="*/ 149 h 512"/>
              <a:gd name="T16" fmla="*/ 213 w 512"/>
              <a:gd name="T17" fmla="*/ 149 h 512"/>
              <a:gd name="T18" fmla="*/ 222 w 512"/>
              <a:gd name="T19" fmla="*/ 327 h 512"/>
              <a:gd name="T20" fmla="*/ 237 w 512"/>
              <a:gd name="T21" fmla="*/ 342 h 512"/>
              <a:gd name="T22" fmla="*/ 266 w 512"/>
              <a:gd name="T23" fmla="*/ 373 h 512"/>
              <a:gd name="T24" fmla="*/ 266 w 512"/>
              <a:gd name="T25" fmla="*/ 352 h 512"/>
              <a:gd name="T26" fmla="*/ 288 w 512"/>
              <a:gd name="T27" fmla="*/ 362 h 512"/>
              <a:gd name="T28" fmla="*/ 298 w 512"/>
              <a:gd name="T29" fmla="*/ 330 h 512"/>
              <a:gd name="T30" fmla="*/ 256 w 512"/>
              <a:gd name="T31" fmla="*/ 320 h 512"/>
              <a:gd name="T32" fmla="*/ 298 w 512"/>
              <a:gd name="T33" fmla="*/ 309 h 512"/>
              <a:gd name="T34" fmla="*/ 298 w 512"/>
              <a:gd name="T35" fmla="*/ 330 h 512"/>
              <a:gd name="T36" fmla="*/ 266 w 512"/>
              <a:gd name="T37" fmla="*/ 288 h 512"/>
              <a:gd name="T38" fmla="*/ 266 w 512"/>
              <a:gd name="T39" fmla="*/ 266 h 512"/>
              <a:gd name="T40" fmla="*/ 330 w 512"/>
              <a:gd name="T41" fmla="*/ 277 h 512"/>
              <a:gd name="T42" fmla="*/ 341 w 512"/>
              <a:gd name="T43" fmla="*/ 245 h 512"/>
              <a:gd name="T44" fmla="*/ 256 w 512"/>
              <a:gd name="T45" fmla="*/ 234 h 512"/>
              <a:gd name="T46" fmla="*/ 341 w 512"/>
              <a:gd name="T47" fmla="*/ 224 h 512"/>
              <a:gd name="T48" fmla="*/ 341 w 512"/>
              <a:gd name="T49" fmla="*/ 245 h 512"/>
              <a:gd name="T50" fmla="*/ 266 w 512"/>
              <a:gd name="T51" fmla="*/ 202 h 512"/>
              <a:gd name="T52" fmla="*/ 266 w 512"/>
              <a:gd name="T53" fmla="*/ 181 h 512"/>
              <a:gd name="T54" fmla="*/ 373 w 512"/>
              <a:gd name="T55" fmla="*/ 192 h 512"/>
              <a:gd name="T56" fmla="*/ 378 w 512"/>
              <a:gd name="T57" fmla="*/ 160 h 512"/>
              <a:gd name="T58" fmla="*/ 256 w 512"/>
              <a:gd name="T59" fmla="*/ 149 h 512"/>
              <a:gd name="T60" fmla="*/ 378 w 512"/>
              <a:gd name="T61" fmla="*/ 138 h 512"/>
              <a:gd name="T62" fmla="*/ 378 w 512"/>
              <a:gd name="T63"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7" y="342"/>
                </a:moveTo>
                <a:cubicBezTo>
                  <a:pt x="210" y="370"/>
                  <a:pt x="210" y="370"/>
                  <a:pt x="210" y="370"/>
                </a:cubicBezTo>
                <a:cubicBezTo>
                  <a:pt x="209" y="371"/>
                  <a:pt x="208" y="372"/>
                  <a:pt x="206" y="372"/>
                </a:cubicBezTo>
                <a:cubicBezTo>
                  <a:pt x="205" y="373"/>
                  <a:pt x="204" y="373"/>
                  <a:pt x="202" y="373"/>
                </a:cubicBezTo>
                <a:cubicBezTo>
                  <a:pt x="201" y="373"/>
                  <a:pt x="200" y="373"/>
                  <a:pt x="198" y="372"/>
                </a:cubicBezTo>
                <a:cubicBezTo>
                  <a:pt x="197" y="372"/>
                  <a:pt x="196" y="371"/>
                  <a:pt x="195" y="370"/>
                </a:cubicBezTo>
                <a:cubicBezTo>
                  <a:pt x="167" y="342"/>
                  <a:pt x="167" y="342"/>
                  <a:pt x="167" y="342"/>
                </a:cubicBezTo>
                <a:cubicBezTo>
                  <a:pt x="163" y="338"/>
                  <a:pt x="163" y="331"/>
                  <a:pt x="167" y="327"/>
                </a:cubicBezTo>
                <a:cubicBezTo>
                  <a:pt x="171" y="323"/>
                  <a:pt x="178" y="323"/>
                  <a:pt x="182" y="327"/>
                </a:cubicBezTo>
                <a:cubicBezTo>
                  <a:pt x="192" y="337"/>
                  <a:pt x="192" y="337"/>
                  <a:pt x="192" y="337"/>
                </a:cubicBezTo>
                <a:cubicBezTo>
                  <a:pt x="192" y="149"/>
                  <a:pt x="192" y="149"/>
                  <a:pt x="192" y="149"/>
                </a:cubicBezTo>
                <a:cubicBezTo>
                  <a:pt x="192" y="143"/>
                  <a:pt x="196" y="138"/>
                  <a:pt x="202" y="138"/>
                </a:cubicBezTo>
                <a:cubicBezTo>
                  <a:pt x="208" y="138"/>
                  <a:pt x="213" y="143"/>
                  <a:pt x="213" y="149"/>
                </a:cubicBezTo>
                <a:cubicBezTo>
                  <a:pt x="213" y="337"/>
                  <a:pt x="213" y="337"/>
                  <a:pt x="213" y="337"/>
                </a:cubicBezTo>
                <a:cubicBezTo>
                  <a:pt x="222" y="327"/>
                  <a:pt x="222" y="327"/>
                  <a:pt x="222" y="327"/>
                </a:cubicBezTo>
                <a:cubicBezTo>
                  <a:pt x="227" y="323"/>
                  <a:pt x="233" y="323"/>
                  <a:pt x="237" y="327"/>
                </a:cubicBezTo>
                <a:cubicBezTo>
                  <a:pt x="242" y="331"/>
                  <a:pt x="242" y="338"/>
                  <a:pt x="237" y="342"/>
                </a:cubicBezTo>
                <a:close/>
                <a:moveTo>
                  <a:pt x="277" y="373"/>
                </a:moveTo>
                <a:cubicBezTo>
                  <a:pt x="266" y="373"/>
                  <a:pt x="266" y="373"/>
                  <a:pt x="266" y="373"/>
                </a:cubicBezTo>
                <a:cubicBezTo>
                  <a:pt x="260" y="373"/>
                  <a:pt x="256" y="368"/>
                  <a:pt x="256" y="362"/>
                </a:cubicBezTo>
                <a:cubicBezTo>
                  <a:pt x="256" y="356"/>
                  <a:pt x="260" y="352"/>
                  <a:pt x="266" y="352"/>
                </a:cubicBezTo>
                <a:cubicBezTo>
                  <a:pt x="277" y="352"/>
                  <a:pt x="277" y="352"/>
                  <a:pt x="277" y="352"/>
                </a:cubicBezTo>
                <a:cubicBezTo>
                  <a:pt x="283" y="352"/>
                  <a:pt x="288" y="356"/>
                  <a:pt x="288" y="362"/>
                </a:cubicBezTo>
                <a:cubicBezTo>
                  <a:pt x="288" y="368"/>
                  <a:pt x="283" y="373"/>
                  <a:pt x="277" y="373"/>
                </a:cubicBezTo>
                <a:close/>
                <a:moveTo>
                  <a:pt x="298" y="330"/>
                </a:moveTo>
                <a:cubicBezTo>
                  <a:pt x="266" y="330"/>
                  <a:pt x="266" y="330"/>
                  <a:pt x="266" y="330"/>
                </a:cubicBezTo>
                <a:cubicBezTo>
                  <a:pt x="260" y="330"/>
                  <a:pt x="256" y="326"/>
                  <a:pt x="256" y="320"/>
                </a:cubicBezTo>
                <a:cubicBezTo>
                  <a:pt x="256" y="314"/>
                  <a:pt x="260" y="309"/>
                  <a:pt x="266" y="309"/>
                </a:cubicBezTo>
                <a:cubicBezTo>
                  <a:pt x="298" y="309"/>
                  <a:pt x="298" y="309"/>
                  <a:pt x="298" y="309"/>
                </a:cubicBezTo>
                <a:cubicBezTo>
                  <a:pt x="304" y="309"/>
                  <a:pt x="309" y="314"/>
                  <a:pt x="309" y="320"/>
                </a:cubicBezTo>
                <a:cubicBezTo>
                  <a:pt x="309" y="326"/>
                  <a:pt x="304" y="330"/>
                  <a:pt x="298" y="330"/>
                </a:cubicBezTo>
                <a:close/>
                <a:moveTo>
                  <a:pt x="320" y="288"/>
                </a:moveTo>
                <a:cubicBezTo>
                  <a:pt x="266" y="288"/>
                  <a:pt x="266" y="288"/>
                  <a:pt x="266" y="288"/>
                </a:cubicBezTo>
                <a:cubicBezTo>
                  <a:pt x="260" y="288"/>
                  <a:pt x="256" y="283"/>
                  <a:pt x="256" y="277"/>
                </a:cubicBezTo>
                <a:cubicBezTo>
                  <a:pt x="256" y="271"/>
                  <a:pt x="260" y="266"/>
                  <a:pt x="266" y="266"/>
                </a:cubicBezTo>
                <a:cubicBezTo>
                  <a:pt x="320" y="266"/>
                  <a:pt x="320" y="266"/>
                  <a:pt x="320" y="266"/>
                </a:cubicBezTo>
                <a:cubicBezTo>
                  <a:pt x="326" y="266"/>
                  <a:pt x="330" y="271"/>
                  <a:pt x="330" y="277"/>
                </a:cubicBezTo>
                <a:cubicBezTo>
                  <a:pt x="330" y="283"/>
                  <a:pt x="326" y="288"/>
                  <a:pt x="320" y="288"/>
                </a:cubicBezTo>
                <a:close/>
                <a:moveTo>
                  <a:pt x="341" y="245"/>
                </a:moveTo>
                <a:cubicBezTo>
                  <a:pt x="266" y="245"/>
                  <a:pt x="266" y="245"/>
                  <a:pt x="266" y="245"/>
                </a:cubicBezTo>
                <a:cubicBezTo>
                  <a:pt x="260" y="245"/>
                  <a:pt x="256" y="240"/>
                  <a:pt x="256" y="234"/>
                </a:cubicBezTo>
                <a:cubicBezTo>
                  <a:pt x="256" y="228"/>
                  <a:pt x="260" y="224"/>
                  <a:pt x="266" y="224"/>
                </a:cubicBezTo>
                <a:cubicBezTo>
                  <a:pt x="341" y="224"/>
                  <a:pt x="341" y="224"/>
                  <a:pt x="341" y="224"/>
                </a:cubicBezTo>
                <a:cubicBezTo>
                  <a:pt x="347" y="224"/>
                  <a:pt x="352" y="228"/>
                  <a:pt x="352" y="234"/>
                </a:cubicBezTo>
                <a:cubicBezTo>
                  <a:pt x="352" y="240"/>
                  <a:pt x="347" y="245"/>
                  <a:pt x="341" y="245"/>
                </a:cubicBezTo>
                <a:close/>
                <a:moveTo>
                  <a:pt x="362" y="202"/>
                </a:moveTo>
                <a:cubicBezTo>
                  <a:pt x="266" y="202"/>
                  <a:pt x="266" y="202"/>
                  <a:pt x="266" y="202"/>
                </a:cubicBezTo>
                <a:cubicBezTo>
                  <a:pt x="260" y="202"/>
                  <a:pt x="256" y="198"/>
                  <a:pt x="256" y="192"/>
                </a:cubicBezTo>
                <a:cubicBezTo>
                  <a:pt x="256" y="186"/>
                  <a:pt x="260" y="181"/>
                  <a:pt x="266" y="181"/>
                </a:cubicBezTo>
                <a:cubicBezTo>
                  <a:pt x="362" y="181"/>
                  <a:pt x="362" y="181"/>
                  <a:pt x="362" y="181"/>
                </a:cubicBezTo>
                <a:cubicBezTo>
                  <a:pt x="368" y="181"/>
                  <a:pt x="373" y="186"/>
                  <a:pt x="373" y="192"/>
                </a:cubicBezTo>
                <a:cubicBezTo>
                  <a:pt x="373" y="198"/>
                  <a:pt x="368" y="202"/>
                  <a:pt x="362" y="202"/>
                </a:cubicBezTo>
                <a:close/>
                <a:moveTo>
                  <a:pt x="378" y="160"/>
                </a:moveTo>
                <a:cubicBezTo>
                  <a:pt x="266" y="160"/>
                  <a:pt x="266" y="160"/>
                  <a:pt x="266" y="160"/>
                </a:cubicBezTo>
                <a:cubicBezTo>
                  <a:pt x="260" y="160"/>
                  <a:pt x="256" y="155"/>
                  <a:pt x="256" y="149"/>
                </a:cubicBezTo>
                <a:cubicBezTo>
                  <a:pt x="256" y="143"/>
                  <a:pt x="260" y="138"/>
                  <a:pt x="266" y="138"/>
                </a:cubicBezTo>
                <a:cubicBezTo>
                  <a:pt x="378" y="138"/>
                  <a:pt x="378" y="138"/>
                  <a:pt x="378" y="138"/>
                </a:cubicBezTo>
                <a:cubicBezTo>
                  <a:pt x="384" y="138"/>
                  <a:pt x="389" y="143"/>
                  <a:pt x="389" y="149"/>
                </a:cubicBezTo>
                <a:cubicBezTo>
                  <a:pt x="389" y="155"/>
                  <a:pt x="384" y="160"/>
                  <a:pt x="378" y="16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Frutiger Next Pro Light"/>
              <a:ea typeface="+mn-ea"/>
              <a:cs typeface="+mn-cs"/>
            </a:endParaRPr>
          </a:p>
        </p:txBody>
      </p:sp>
    </p:spTree>
    <p:extLst>
      <p:ext uri="{BB962C8B-B14F-4D97-AF65-F5344CB8AC3E}">
        <p14:creationId xmlns:p14="http://schemas.microsoft.com/office/powerpoint/2010/main" val="419701207"/>
      </p:ext>
    </p:extLst>
  </p:cSld>
  <p:clrMapOvr>
    <a:masterClrMapping/>
  </p:clrMapOvr>
  <p:transition>
    <p:fade/>
  </p:transition>
  <p:hf hdr="0" dt="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1_2 columns of text">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D58FF0B8-12F4-41CE-AD69-DD52D41C8BBD}"/>
              </a:ext>
            </a:extLst>
          </p:cNvPr>
          <p:cNvSpPr>
            <a:spLocks noGrp="1"/>
          </p:cNvSpPr>
          <p:nvPr>
            <p:ph type="body" sz="quarter" idx="13" hasCustomPrompt="1"/>
          </p:nvPr>
        </p:nvSpPr>
        <p:spPr>
          <a:xfrm>
            <a:off x="501650" y="651601"/>
            <a:ext cx="11188700" cy="334100"/>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565F50C2-3A2B-43F6-97B9-A4F3EF05E45A}"/>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3" name="Table Placeholder 4">
            <a:extLst>
              <a:ext uri="{FF2B5EF4-FFF2-40B4-BE49-F238E27FC236}">
                <a16:creationId xmlns:a16="http://schemas.microsoft.com/office/drawing/2014/main" id="{83B3D3D2-1833-09EF-F3AA-A175329DFFFF}"/>
              </a:ext>
            </a:extLst>
          </p:cNvPr>
          <p:cNvSpPr>
            <a:spLocks noGrp="1"/>
          </p:cNvSpPr>
          <p:nvPr>
            <p:ph type="tbl" sz="quarter" idx="20"/>
          </p:nvPr>
        </p:nvSpPr>
        <p:spPr>
          <a:xfrm>
            <a:off x="501649" y="6523899"/>
            <a:ext cx="11188699" cy="334101"/>
          </a:xfrm>
        </p:spPr>
        <p:txBody>
          <a:bodyPr/>
          <a:lstStyle>
            <a:lvl1pPr marL="0" indent="0">
              <a:buNone/>
              <a:defRPr i="1"/>
            </a:lvl1pPr>
          </a:lstStyle>
          <a:p>
            <a:endParaRPr lang="en-US" dirty="0"/>
          </a:p>
        </p:txBody>
      </p:sp>
      <p:sp>
        <p:nvSpPr>
          <p:cNvPr id="11" name="Rectangle 10">
            <a:extLst>
              <a:ext uri="{FF2B5EF4-FFF2-40B4-BE49-F238E27FC236}">
                <a16:creationId xmlns:a16="http://schemas.microsoft.com/office/drawing/2014/main" id="{C4382ACE-062B-940F-09D0-AD2608F851BC}"/>
              </a:ext>
            </a:extLst>
          </p:cNvPr>
          <p:cNvSpPr/>
          <p:nvPr userDrawn="1"/>
        </p:nvSpPr>
        <p:spPr>
          <a:xfrm>
            <a:off x="1" y="2378425"/>
            <a:ext cx="12192000" cy="111745"/>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14" name="Oval 13">
            <a:extLst>
              <a:ext uri="{FF2B5EF4-FFF2-40B4-BE49-F238E27FC236}">
                <a16:creationId xmlns:a16="http://schemas.microsoft.com/office/drawing/2014/main" id="{25108353-B749-289A-EED5-4DAE4E54658A}"/>
              </a:ext>
            </a:extLst>
          </p:cNvPr>
          <p:cNvSpPr/>
          <p:nvPr userDrawn="1"/>
        </p:nvSpPr>
        <p:spPr>
          <a:xfrm>
            <a:off x="1157113" y="2211184"/>
            <a:ext cx="467295" cy="473151"/>
          </a:xfrm>
          <a:prstGeom prst="ellipse">
            <a:avLst/>
          </a:prstGeom>
          <a:solidFill>
            <a:schemeClr val="bg1">
              <a:lumMod val="95000"/>
            </a:schemeClr>
          </a:solidFill>
          <a:ln w="3810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chemeClr val="tx1"/>
              </a:solidFill>
              <a:effectLst/>
              <a:uLnTx/>
              <a:uFillTx/>
              <a:latin typeface="Open Sans"/>
              <a:ea typeface="+mn-ea"/>
              <a:cs typeface="+mn-cs"/>
            </a:endParaRPr>
          </a:p>
        </p:txBody>
      </p:sp>
      <p:sp>
        <p:nvSpPr>
          <p:cNvPr id="17" name="Isosceles Triangle 9">
            <a:extLst>
              <a:ext uri="{FF2B5EF4-FFF2-40B4-BE49-F238E27FC236}">
                <a16:creationId xmlns:a16="http://schemas.microsoft.com/office/drawing/2014/main" id="{BAA65D7B-6158-2F46-00BB-33F82B49B0AB}"/>
              </a:ext>
            </a:extLst>
          </p:cNvPr>
          <p:cNvSpPr/>
          <p:nvPr userDrawn="1"/>
        </p:nvSpPr>
        <p:spPr>
          <a:xfrm flipV="1">
            <a:off x="1256768" y="2765045"/>
            <a:ext cx="274320" cy="274320"/>
          </a:xfrm>
          <a:prstGeom prst="triangle">
            <a:avLst/>
          </a:prstGeom>
          <a:pattFill prst="dkUpDiag">
            <a:fgClr>
              <a:srgbClr val="86BC25"/>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Open Sans"/>
              <a:ea typeface="+mn-ea"/>
              <a:cs typeface="+mn-cs"/>
            </a:endParaRPr>
          </a:p>
        </p:txBody>
      </p:sp>
      <p:sp>
        <p:nvSpPr>
          <p:cNvPr id="19" name="Isosceles Triangle 13">
            <a:extLst>
              <a:ext uri="{FF2B5EF4-FFF2-40B4-BE49-F238E27FC236}">
                <a16:creationId xmlns:a16="http://schemas.microsoft.com/office/drawing/2014/main" id="{FF57FE94-8278-7333-EE47-7C5B0A3AFB8B}"/>
              </a:ext>
            </a:extLst>
          </p:cNvPr>
          <p:cNvSpPr/>
          <p:nvPr userDrawn="1"/>
        </p:nvSpPr>
        <p:spPr>
          <a:xfrm flipV="1">
            <a:off x="3430279" y="2765045"/>
            <a:ext cx="274320" cy="274320"/>
          </a:xfrm>
          <a:prstGeom prst="triangle">
            <a:avLst/>
          </a:prstGeom>
          <a:pattFill prst="dkUpDiag">
            <a:fgClr>
              <a:srgbClr val="9DD4CF"/>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Open Sans"/>
              <a:ea typeface="+mn-ea"/>
              <a:cs typeface="+mn-cs"/>
            </a:endParaRPr>
          </a:p>
        </p:txBody>
      </p:sp>
      <p:sp>
        <p:nvSpPr>
          <p:cNvPr id="21" name="Oval 20">
            <a:extLst>
              <a:ext uri="{FF2B5EF4-FFF2-40B4-BE49-F238E27FC236}">
                <a16:creationId xmlns:a16="http://schemas.microsoft.com/office/drawing/2014/main" id="{23B8B249-9C42-0360-647E-3D6C36BF83B8}"/>
              </a:ext>
            </a:extLst>
          </p:cNvPr>
          <p:cNvSpPr/>
          <p:nvPr userDrawn="1"/>
        </p:nvSpPr>
        <p:spPr>
          <a:xfrm>
            <a:off x="7561551" y="2211184"/>
            <a:ext cx="467295" cy="473151"/>
          </a:xfrm>
          <a:prstGeom prst="ellipse">
            <a:avLst/>
          </a:prstGeom>
          <a:solidFill>
            <a:schemeClr val="bg1">
              <a:lumMod val="95000"/>
            </a:schemeClr>
          </a:solidFill>
          <a:ln w="38100">
            <a:solidFill>
              <a:srgbClr val="00A3E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chemeClr val="tx1"/>
              </a:solidFill>
              <a:effectLst/>
              <a:uLnTx/>
              <a:uFillTx/>
              <a:latin typeface="Open Sans"/>
              <a:ea typeface="+mn-ea"/>
              <a:cs typeface="+mn-cs"/>
            </a:endParaRPr>
          </a:p>
        </p:txBody>
      </p:sp>
      <p:sp>
        <p:nvSpPr>
          <p:cNvPr id="22" name="Isosceles Triangle 27">
            <a:extLst>
              <a:ext uri="{FF2B5EF4-FFF2-40B4-BE49-F238E27FC236}">
                <a16:creationId xmlns:a16="http://schemas.microsoft.com/office/drawing/2014/main" id="{85A3A054-5BC6-A723-4CD6-1D6590968E37}"/>
              </a:ext>
            </a:extLst>
          </p:cNvPr>
          <p:cNvSpPr/>
          <p:nvPr userDrawn="1"/>
        </p:nvSpPr>
        <p:spPr>
          <a:xfrm flipV="1">
            <a:off x="7661206" y="2765045"/>
            <a:ext cx="274320" cy="274320"/>
          </a:xfrm>
          <a:prstGeom prst="triangle">
            <a:avLst/>
          </a:prstGeom>
          <a:pattFill prst="dkUpDiag">
            <a:fgClr>
              <a:srgbClr val="A0DCFF"/>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Open Sans"/>
              <a:ea typeface="+mn-ea"/>
              <a:cs typeface="+mn-cs"/>
            </a:endParaRPr>
          </a:p>
        </p:txBody>
      </p:sp>
      <p:sp>
        <p:nvSpPr>
          <p:cNvPr id="30" name="Isosceles Triangle 39">
            <a:extLst>
              <a:ext uri="{FF2B5EF4-FFF2-40B4-BE49-F238E27FC236}">
                <a16:creationId xmlns:a16="http://schemas.microsoft.com/office/drawing/2014/main" id="{9FF18182-6E18-31FE-F1D3-55E0CC17EC73}"/>
              </a:ext>
            </a:extLst>
          </p:cNvPr>
          <p:cNvSpPr/>
          <p:nvPr userDrawn="1"/>
        </p:nvSpPr>
        <p:spPr>
          <a:xfrm flipV="1">
            <a:off x="5430556" y="2765045"/>
            <a:ext cx="274320" cy="274320"/>
          </a:xfrm>
          <a:prstGeom prst="triangle">
            <a:avLst/>
          </a:prstGeom>
          <a:pattFill prst="dkUpDiag">
            <a:fgClr>
              <a:srgbClr val="9DD4CF"/>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Open Sans"/>
              <a:ea typeface="+mn-ea"/>
              <a:cs typeface="+mn-cs"/>
            </a:endParaRPr>
          </a:p>
        </p:txBody>
      </p:sp>
      <p:sp>
        <p:nvSpPr>
          <p:cNvPr id="40" name="Oval 39">
            <a:extLst>
              <a:ext uri="{FF2B5EF4-FFF2-40B4-BE49-F238E27FC236}">
                <a16:creationId xmlns:a16="http://schemas.microsoft.com/office/drawing/2014/main" id="{043D94FB-79EA-6C49-9BFB-0834B7F405A0}"/>
              </a:ext>
            </a:extLst>
          </p:cNvPr>
          <p:cNvSpPr/>
          <p:nvPr userDrawn="1"/>
        </p:nvSpPr>
        <p:spPr>
          <a:xfrm>
            <a:off x="9958212" y="2211184"/>
            <a:ext cx="467295" cy="473151"/>
          </a:xfrm>
          <a:prstGeom prst="ellipse">
            <a:avLst/>
          </a:prstGeom>
          <a:solidFill>
            <a:schemeClr val="bg1">
              <a:lumMod val="95000"/>
            </a:schemeClr>
          </a:solidFill>
          <a:ln w="38100">
            <a:solidFill>
              <a:srgbClr val="00A3E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F7F5F3"/>
              </a:solidFill>
              <a:effectLst/>
              <a:uLnTx/>
              <a:uFillTx/>
              <a:latin typeface="Open Sans"/>
              <a:ea typeface="+mn-ea"/>
              <a:cs typeface="+mn-cs"/>
            </a:endParaRPr>
          </a:p>
        </p:txBody>
      </p:sp>
      <p:sp>
        <p:nvSpPr>
          <p:cNvPr id="41" name="Isosceles Triangle 48">
            <a:extLst>
              <a:ext uri="{FF2B5EF4-FFF2-40B4-BE49-F238E27FC236}">
                <a16:creationId xmlns:a16="http://schemas.microsoft.com/office/drawing/2014/main" id="{57619071-1A05-9E5F-CC37-27EE46523CE9}"/>
              </a:ext>
            </a:extLst>
          </p:cNvPr>
          <p:cNvSpPr/>
          <p:nvPr userDrawn="1"/>
        </p:nvSpPr>
        <p:spPr>
          <a:xfrm flipV="1">
            <a:off x="10057867" y="2765045"/>
            <a:ext cx="274320" cy="274320"/>
          </a:xfrm>
          <a:prstGeom prst="triangle">
            <a:avLst/>
          </a:prstGeom>
          <a:pattFill prst="dkUpDiag">
            <a:fgClr>
              <a:srgbClr val="A0DCFF"/>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44" name="Oval 43">
            <a:extLst>
              <a:ext uri="{FF2B5EF4-FFF2-40B4-BE49-F238E27FC236}">
                <a16:creationId xmlns:a16="http://schemas.microsoft.com/office/drawing/2014/main" id="{16AC2374-FE85-6D9F-D995-CA316CD02BA8}"/>
              </a:ext>
            </a:extLst>
          </p:cNvPr>
          <p:cNvSpPr/>
          <p:nvPr userDrawn="1"/>
        </p:nvSpPr>
        <p:spPr>
          <a:xfrm>
            <a:off x="3330624" y="2211184"/>
            <a:ext cx="467295" cy="473151"/>
          </a:xfrm>
          <a:prstGeom prst="ellipse">
            <a:avLst/>
          </a:prstGeom>
          <a:solidFill>
            <a:schemeClr val="bg1">
              <a:lumMod val="95000"/>
            </a:schemeClr>
          </a:solidFill>
          <a:ln w="381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chemeClr val="tx1"/>
              </a:solidFill>
              <a:effectLst/>
              <a:uLnTx/>
              <a:uFillTx/>
              <a:latin typeface="Open Sans"/>
              <a:ea typeface="+mn-ea"/>
              <a:cs typeface="+mn-cs"/>
            </a:endParaRPr>
          </a:p>
        </p:txBody>
      </p:sp>
      <p:sp>
        <p:nvSpPr>
          <p:cNvPr id="45" name="Oval 44">
            <a:extLst>
              <a:ext uri="{FF2B5EF4-FFF2-40B4-BE49-F238E27FC236}">
                <a16:creationId xmlns:a16="http://schemas.microsoft.com/office/drawing/2014/main" id="{FF4B83D0-653A-FFE2-E1AD-55C2F822021E}"/>
              </a:ext>
            </a:extLst>
          </p:cNvPr>
          <p:cNvSpPr/>
          <p:nvPr userDrawn="1"/>
        </p:nvSpPr>
        <p:spPr>
          <a:xfrm>
            <a:off x="5330901" y="2211184"/>
            <a:ext cx="467295" cy="473151"/>
          </a:xfrm>
          <a:prstGeom prst="ellipse">
            <a:avLst/>
          </a:prstGeom>
          <a:solidFill>
            <a:schemeClr val="bg1">
              <a:lumMod val="95000"/>
            </a:schemeClr>
          </a:solidFill>
          <a:ln w="381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chemeClr val="tx1"/>
              </a:solidFill>
              <a:effectLst/>
              <a:uLnTx/>
              <a:uFillTx/>
              <a:latin typeface="Open Sans"/>
              <a:ea typeface="+mn-ea"/>
              <a:cs typeface="+mn-cs"/>
            </a:endParaRPr>
          </a:p>
        </p:txBody>
      </p:sp>
      <p:sp>
        <p:nvSpPr>
          <p:cNvPr id="2" name="Content Placeholder 6">
            <a:extLst>
              <a:ext uri="{FF2B5EF4-FFF2-40B4-BE49-F238E27FC236}">
                <a16:creationId xmlns:a16="http://schemas.microsoft.com/office/drawing/2014/main" id="{14067DC5-D9C2-3103-3BC8-D2B676F895BC}"/>
              </a:ext>
            </a:extLst>
          </p:cNvPr>
          <p:cNvSpPr>
            <a:spLocks noGrp="1"/>
          </p:cNvSpPr>
          <p:nvPr>
            <p:ph sz="quarter" idx="14" hasCustomPrompt="1"/>
          </p:nvPr>
        </p:nvSpPr>
        <p:spPr>
          <a:xfrm>
            <a:off x="431049" y="3321704"/>
            <a:ext cx="2231469" cy="2209796"/>
          </a:xfrm>
        </p:spPr>
        <p:txBody>
          <a:bodyPr/>
          <a:lstStyle>
            <a:lvl1pPr marL="0" indent="0">
              <a:buNone/>
              <a:defRPr/>
            </a:lvl1pPr>
            <a:lvl2pPr>
              <a:defRPr sz="1600">
                <a:solidFill>
                  <a:srgbClr val="009A44"/>
                </a:solidFill>
              </a:defRPr>
            </a:lvl2pPr>
            <a:lvl3pPr>
              <a:defRPr sz="1200"/>
            </a:lvl3pPr>
            <a:lvl4pPr>
              <a:defRPr sz="1200"/>
            </a:lvl4pPr>
            <a:lvl5pPr>
              <a:defRPr sz="1200"/>
            </a:lvl5pPr>
          </a:lstStyle>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14045384"/>
      </p:ext>
    </p:extLst>
  </p:cSld>
  <p:clrMapOvr>
    <a:masterClrMapping/>
  </p:clrMapOvr>
  <p:transition>
    <p:fade/>
  </p:transition>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2_2 columns of text">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D58FF0B8-12F4-41CE-AD69-DD52D41C8BBD}"/>
              </a:ext>
            </a:extLst>
          </p:cNvPr>
          <p:cNvSpPr>
            <a:spLocks noGrp="1"/>
          </p:cNvSpPr>
          <p:nvPr>
            <p:ph type="body" sz="quarter" idx="13" hasCustomPrompt="1"/>
          </p:nvPr>
        </p:nvSpPr>
        <p:spPr>
          <a:xfrm>
            <a:off x="501650" y="651601"/>
            <a:ext cx="11188700" cy="334100"/>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565F50C2-3A2B-43F6-97B9-A4F3EF05E45A}"/>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3" name="Table Placeholder 4">
            <a:extLst>
              <a:ext uri="{FF2B5EF4-FFF2-40B4-BE49-F238E27FC236}">
                <a16:creationId xmlns:a16="http://schemas.microsoft.com/office/drawing/2014/main" id="{83B3D3D2-1833-09EF-F3AA-A175329DFFFF}"/>
              </a:ext>
            </a:extLst>
          </p:cNvPr>
          <p:cNvSpPr>
            <a:spLocks noGrp="1"/>
          </p:cNvSpPr>
          <p:nvPr>
            <p:ph type="tbl" sz="quarter" idx="20"/>
          </p:nvPr>
        </p:nvSpPr>
        <p:spPr>
          <a:xfrm>
            <a:off x="501649" y="6523899"/>
            <a:ext cx="11188699" cy="334101"/>
          </a:xfrm>
        </p:spPr>
        <p:txBody>
          <a:bodyPr/>
          <a:lstStyle>
            <a:lvl1pPr marL="0" indent="0">
              <a:buNone/>
              <a:defRPr i="1"/>
            </a:lvl1pPr>
          </a:lstStyle>
          <a:p>
            <a:endParaRPr lang="en-US" dirty="0"/>
          </a:p>
        </p:txBody>
      </p:sp>
      <p:sp>
        <p:nvSpPr>
          <p:cNvPr id="2" name="TextBox 1">
            <a:extLst>
              <a:ext uri="{FF2B5EF4-FFF2-40B4-BE49-F238E27FC236}">
                <a16:creationId xmlns:a16="http://schemas.microsoft.com/office/drawing/2014/main" id="{537ED853-8C6D-77F1-783C-EACAA392B2D7}"/>
              </a:ext>
            </a:extLst>
          </p:cNvPr>
          <p:cNvSpPr txBox="1"/>
          <p:nvPr userDrawn="1"/>
        </p:nvSpPr>
        <p:spPr>
          <a:xfrm>
            <a:off x="1609665" y="4272405"/>
            <a:ext cx="958596" cy="276999"/>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b="1" i="0" u="none" strike="noStrike" kern="1200" cap="none" spc="0" normalizeH="0" baseline="0" noProof="0">
                <a:ln>
                  <a:noFill/>
                </a:ln>
                <a:effectLst/>
                <a:uLnTx/>
                <a:uFillTx/>
                <a:latin typeface="Open Sans"/>
                <a:ea typeface="Microsoft YaHei"/>
                <a:cs typeface="+mn-cs"/>
              </a:rPr>
              <a:t>July 9-10</a:t>
            </a:r>
            <a:endParaRPr kumimoji="0" lang="en-US" b="0" i="0" u="none" strike="noStrike" kern="1200" cap="none" spc="0" normalizeH="0" baseline="0" noProof="0">
              <a:ln>
                <a:noFill/>
              </a:ln>
              <a:effectLst/>
              <a:uLnTx/>
              <a:uFillTx/>
              <a:latin typeface="Open Sans"/>
              <a:ea typeface="Microsoft YaHei"/>
              <a:cs typeface="+mn-cs"/>
            </a:endParaRPr>
          </a:p>
        </p:txBody>
      </p:sp>
      <p:sp>
        <p:nvSpPr>
          <p:cNvPr id="4" name="TextBox 3">
            <a:extLst>
              <a:ext uri="{FF2B5EF4-FFF2-40B4-BE49-F238E27FC236}">
                <a16:creationId xmlns:a16="http://schemas.microsoft.com/office/drawing/2014/main" id="{17D55852-2231-DC73-51C4-F5A7D2311BA9}"/>
              </a:ext>
            </a:extLst>
          </p:cNvPr>
          <p:cNvSpPr txBox="1"/>
          <p:nvPr userDrawn="1"/>
        </p:nvSpPr>
        <p:spPr>
          <a:xfrm>
            <a:off x="1733097" y="4747091"/>
            <a:ext cx="711733" cy="246221"/>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Summit</a:t>
            </a:r>
          </a:p>
        </p:txBody>
      </p:sp>
      <p:sp>
        <p:nvSpPr>
          <p:cNvPr id="5" name="TextBox 4">
            <a:extLst>
              <a:ext uri="{FF2B5EF4-FFF2-40B4-BE49-F238E27FC236}">
                <a16:creationId xmlns:a16="http://schemas.microsoft.com/office/drawing/2014/main" id="{03B6260A-0679-E46A-A5C5-A30E705558B9}"/>
              </a:ext>
            </a:extLst>
          </p:cNvPr>
          <p:cNvSpPr txBox="1"/>
          <p:nvPr userDrawn="1"/>
        </p:nvSpPr>
        <p:spPr>
          <a:xfrm>
            <a:off x="1175929" y="5037260"/>
            <a:ext cx="1826068" cy="553998"/>
          </a:xfrm>
          <a:prstGeom prst="rect">
            <a:avLst/>
          </a:prstGeom>
          <a:noFill/>
        </p:spPr>
        <p:txBody>
          <a:bodyPr wrap="square" lIns="0" tIns="0" rIns="0" bIns="0" rtlCol="0" anchor="t">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20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Kickoff up/downstream alignment, integration points and initial timelines</a:t>
            </a:r>
          </a:p>
        </p:txBody>
      </p:sp>
      <p:grpSp>
        <p:nvGrpSpPr>
          <p:cNvPr id="6" name="Group 35">
            <a:extLst>
              <a:ext uri="{FF2B5EF4-FFF2-40B4-BE49-F238E27FC236}">
                <a16:creationId xmlns:a16="http://schemas.microsoft.com/office/drawing/2014/main" id="{CB58F435-36E0-797E-4BF2-3E1A9EA7A77B}"/>
              </a:ext>
            </a:extLst>
          </p:cNvPr>
          <p:cNvGrpSpPr/>
          <p:nvPr userDrawn="1"/>
        </p:nvGrpSpPr>
        <p:grpSpPr>
          <a:xfrm>
            <a:off x="1032627" y="3668054"/>
            <a:ext cx="2151288" cy="460856"/>
            <a:chOff x="769938" y="2456536"/>
            <a:chExt cx="1613466" cy="345642"/>
          </a:xfrm>
        </p:grpSpPr>
        <p:sp>
          <p:nvSpPr>
            <p:cNvPr id="7" name="Notched Right Arrow 5">
              <a:extLst>
                <a:ext uri="{FF2B5EF4-FFF2-40B4-BE49-F238E27FC236}">
                  <a16:creationId xmlns:a16="http://schemas.microsoft.com/office/drawing/2014/main" id="{EC4449E9-29BA-CEFF-75B8-9B89EFFE0F6C}"/>
                </a:ext>
              </a:extLst>
            </p:cNvPr>
            <p:cNvSpPr/>
            <p:nvPr/>
          </p:nvSpPr>
          <p:spPr>
            <a:xfrm>
              <a:off x="769938" y="2456536"/>
              <a:ext cx="1613466" cy="345642"/>
            </a:xfrm>
            <a:prstGeom prst="notchedRightArrow">
              <a:avLst>
                <a:gd name="adj1" fmla="val 100000"/>
                <a:gd name="adj2" fmla="val 9102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0" name="Oval 9">
              <a:extLst>
                <a:ext uri="{FF2B5EF4-FFF2-40B4-BE49-F238E27FC236}">
                  <a16:creationId xmlns:a16="http://schemas.microsoft.com/office/drawing/2014/main" id="{0994B219-FA26-7633-4F86-67DD27117FCA}"/>
                </a:ext>
              </a:extLst>
            </p:cNvPr>
            <p:cNvSpPr>
              <a:spLocks noChangeAspect="1"/>
            </p:cNvSpPr>
            <p:nvPr/>
          </p:nvSpPr>
          <p:spPr>
            <a:xfrm>
              <a:off x="1482001" y="2534688"/>
              <a:ext cx="189341" cy="189339"/>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7AC142">
                    <a:lumMod val="75000"/>
                  </a:srgbClr>
                </a:solidFill>
                <a:effectLst/>
                <a:uLnTx/>
                <a:uFillTx/>
                <a:latin typeface="Open Sans"/>
                <a:ea typeface="Microsoft YaHei"/>
                <a:cs typeface="+mn-cs"/>
              </a:endParaRPr>
            </a:p>
          </p:txBody>
        </p:sp>
      </p:grpSp>
      <p:cxnSp>
        <p:nvCxnSpPr>
          <p:cNvPr id="12" name="Straight Connector 11">
            <a:extLst>
              <a:ext uri="{FF2B5EF4-FFF2-40B4-BE49-F238E27FC236}">
                <a16:creationId xmlns:a16="http://schemas.microsoft.com/office/drawing/2014/main" id="{782882E2-EFD4-BCA6-A3D5-68902112DE5F}"/>
              </a:ext>
            </a:extLst>
          </p:cNvPr>
          <p:cNvCxnSpPr>
            <a:cxnSpLocks/>
          </p:cNvCxnSpPr>
          <p:nvPr userDrawn="1"/>
        </p:nvCxnSpPr>
        <p:spPr>
          <a:xfrm>
            <a:off x="2088963" y="3077653"/>
            <a:ext cx="22417" cy="820830"/>
          </a:xfrm>
          <a:prstGeom prst="line">
            <a:avLst/>
          </a:prstGeom>
          <a:ln w="19050">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13" name="Group 68">
            <a:extLst>
              <a:ext uri="{FF2B5EF4-FFF2-40B4-BE49-F238E27FC236}">
                <a16:creationId xmlns:a16="http://schemas.microsoft.com/office/drawing/2014/main" id="{1B0D7941-4489-429E-6585-138ED27E4765}"/>
              </a:ext>
            </a:extLst>
          </p:cNvPr>
          <p:cNvGrpSpPr/>
          <p:nvPr userDrawn="1"/>
        </p:nvGrpSpPr>
        <p:grpSpPr>
          <a:xfrm>
            <a:off x="1716356" y="2178099"/>
            <a:ext cx="745215" cy="745215"/>
            <a:chOff x="1295010" y="1424373"/>
            <a:chExt cx="558911" cy="558911"/>
          </a:xfrm>
        </p:grpSpPr>
        <p:sp>
          <p:nvSpPr>
            <p:cNvPr id="15" name="Teardrop 14">
              <a:extLst>
                <a:ext uri="{FF2B5EF4-FFF2-40B4-BE49-F238E27FC236}">
                  <a16:creationId xmlns:a16="http://schemas.microsoft.com/office/drawing/2014/main" id="{CF63354B-394E-6806-FFC3-AD626429E55D}"/>
                </a:ext>
              </a:extLst>
            </p:cNvPr>
            <p:cNvSpPr/>
            <p:nvPr/>
          </p:nvSpPr>
          <p:spPr>
            <a:xfrm rot="8100000">
              <a:off x="1295010" y="1424373"/>
              <a:ext cx="558911" cy="558911"/>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6" name="Freeform 116">
              <a:extLst>
                <a:ext uri="{FF2B5EF4-FFF2-40B4-BE49-F238E27FC236}">
                  <a16:creationId xmlns:a16="http://schemas.microsoft.com/office/drawing/2014/main" id="{F35FB79C-646C-6299-ABED-C6B9A5B99495}"/>
                </a:ext>
              </a:extLst>
            </p:cNvPr>
            <p:cNvSpPr>
              <a:spLocks noEditPoints="1"/>
            </p:cNvSpPr>
            <p:nvPr/>
          </p:nvSpPr>
          <p:spPr bwMode="auto">
            <a:xfrm>
              <a:off x="1420657" y="1575878"/>
              <a:ext cx="307301" cy="247823"/>
            </a:xfrm>
            <a:custGeom>
              <a:avLst/>
              <a:gdLst/>
              <a:ahLst/>
              <a:cxnLst>
                <a:cxn ang="0">
                  <a:pos x="55" y="27"/>
                </a:cxn>
                <a:cxn ang="0">
                  <a:pos x="54" y="27"/>
                </a:cxn>
                <a:cxn ang="0">
                  <a:pos x="54" y="27"/>
                </a:cxn>
                <a:cxn ang="0">
                  <a:pos x="53" y="27"/>
                </a:cxn>
                <a:cxn ang="0">
                  <a:pos x="28" y="6"/>
                </a:cxn>
                <a:cxn ang="0">
                  <a:pos x="4" y="27"/>
                </a:cxn>
                <a:cxn ang="0">
                  <a:pos x="3" y="27"/>
                </a:cxn>
                <a:cxn ang="0">
                  <a:pos x="2" y="27"/>
                </a:cxn>
                <a:cxn ang="0">
                  <a:pos x="0" y="24"/>
                </a:cxn>
                <a:cxn ang="0">
                  <a:pos x="0" y="23"/>
                </a:cxn>
                <a:cxn ang="0">
                  <a:pos x="26" y="1"/>
                </a:cxn>
                <a:cxn ang="0">
                  <a:pos x="31" y="1"/>
                </a:cxn>
                <a:cxn ang="0">
                  <a:pos x="40" y="8"/>
                </a:cxn>
                <a:cxn ang="0">
                  <a:pos x="40" y="1"/>
                </a:cxn>
                <a:cxn ang="0">
                  <a:pos x="41" y="0"/>
                </a:cxn>
                <a:cxn ang="0">
                  <a:pos x="48" y="0"/>
                </a:cxn>
                <a:cxn ang="0">
                  <a:pos x="49" y="1"/>
                </a:cxn>
                <a:cxn ang="0">
                  <a:pos x="49" y="16"/>
                </a:cxn>
                <a:cxn ang="0">
                  <a:pos x="57" y="23"/>
                </a:cxn>
                <a:cxn ang="0">
                  <a:pos x="57" y="24"/>
                </a:cxn>
                <a:cxn ang="0">
                  <a:pos x="55" y="27"/>
                </a:cxn>
                <a:cxn ang="0">
                  <a:pos x="49" y="44"/>
                </a:cxn>
                <a:cxn ang="0">
                  <a:pos x="47" y="46"/>
                </a:cxn>
                <a:cxn ang="0">
                  <a:pos x="33" y="46"/>
                </a:cxn>
                <a:cxn ang="0">
                  <a:pos x="33" y="32"/>
                </a:cxn>
                <a:cxn ang="0">
                  <a:pos x="24" y="32"/>
                </a:cxn>
                <a:cxn ang="0">
                  <a:pos x="24" y="46"/>
                </a:cxn>
                <a:cxn ang="0">
                  <a:pos x="10" y="46"/>
                </a:cxn>
                <a:cxn ang="0">
                  <a:pos x="8" y="44"/>
                </a:cxn>
                <a:cxn ang="0">
                  <a:pos x="8" y="27"/>
                </a:cxn>
                <a:cxn ang="0">
                  <a:pos x="8" y="26"/>
                </a:cxn>
                <a:cxn ang="0">
                  <a:pos x="28" y="9"/>
                </a:cxn>
                <a:cxn ang="0">
                  <a:pos x="49" y="26"/>
                </a:cxn>
                <a:cxn ang="0">
                  <a:pos x="49" y="27"/>
                </a:cxn>
                <a:cxn ang="0">
                  <a:pos x="49" y="44"/>
                </a:cxn>
              </a:cxnLst>
              <a:rect l="0" t="0" r="r" b="b"/>
              <a:pathLst>
                <a:path w="57" h="46">
                  <a:moveTo>
                    <a:pt x="55" y="27"/>
                  </a:moveTo>
                  <a:cubicBezTo>
                    <a:pt x="55" y="27"/>
                    <a:pt x="54" y="27"/>
                    <a:pt x="54" y="27"/>
                  </a:cubicBezTo>
                  <a:cubicBezTo>
                    <a:pt x="54" y="27"/>
                    <a:pt x="54" y="27"/>
                    <a:pt x="54" y="27"/>
                  </a:cubicBezTo>
                  <a:cubicBezTo>
                    <a:pt x="54" y="27"/>
                    <a:pt x="53" y="27"/>
                    <a:pt x="53" y="27"/>
                  </a:cubicBezTo>
                  <a:cubicBezTo>
                    <a:pt x="28" y="6"/>
                    <a:pt x="28" y="6"/>
                    <a:pt x="28" y="6"/>
                  </a:cubicBezTo>
                  <a:cubicBezTo>
                    <a:pt x="4" y="27"/>
                    <a:pt x="4" y="27"/>
                    <a:pt x="4" y="27"/>
                  </a:cubicBezTo>
                  <a:cubicBezTo>
                    <a:pt x="4" y="27"/>
                    <a:pt x="3" y="27"/>
                    <a:pt x="3" y="27"/>
                  </a:cubicBezTo>
                  <a:cubicBezTo>
                    <a:pt x="3" y="27"/>
                    <a:pt x="2" y="27"/>
                    <a:pt x="2" y="27"/>
                  </a:cubicBezTo>
                  <a:cubicBezTo>
                    <a:pt x="0" y="24"/>
                    <a:pt x="0" y="24"/>
                    <a:pt x="0" y="24"/>
                  </a:cubicBezTo>
                  <a:cubicBezTo>
                    <a:pt x="0" y="24"/>
                    <a:pt x="0" y="23"/>
                    <a:pt x="0" y="23"/>
                  </a:cubicBezTo>
                  <a:cubicBezTo>
                    <a:pt x="26" y="1"/>
                    <a:pt x="26" y="1"/>
                    <a:pt x="26" y="1"/>
                  </a:cubicBezTo>
                  <a:cubicBezTo>
                    <a:pt x="27" y="0"/>
                    <a:pt x="30" y="0"/>
                    <a:pt x="31" y="1"/>
                  </a:cubicBezTo>
                  <a:cubicBezTo>
                    <a:pt x="40" y="8"/>
                    <a:pt x="40" y="8"/>
                    <a:pt x="40" y="8"/>
                  </a:cubicBezTo>
                  <a:cubicBezTo>
                    <a:pt x="40" y="1"/>
                    <a:pt x="40" y="1"/>
                    <a:pt x="40" y="1"/>
                  </a:cubicBezTo>
                  <a:cubicBezTo>
                    <a:pt x="40" y="1"/>
                    <a:pt x="40" y="0"/>
                    <a:pt x="41" y="0"/>
                  </a:cubicBezTo>
                  <a:cubicBezTo>
                    <a:pt x="48" y="0"/>
                    <a:pt x="48" y="0"/>
                    <a:pt x="48" y="0"/>
                  </a:cubicBezTo>
                  <a:cubicBezTo>
                    <a:pt x="49" y="0"/>
                    <a:pt x="49" y="1"/>
                    <a:pt x="49" y="1"/>
                  </a:cubicBezTo>
                  <a:cubicBezTo>
                    <a:pt x="49" y="16"/>
                    <a:pt x="49" y="16"/>
                    <a:pt x="49" y="16"/>
                  </a:cubicBezTo>
                  <a:cubicBezTo>
                    <a:pt x="57" y="23"/>
                    <a:pt x="57" y="23"/>
                    <a:pt x="57" y="23"/>
                  </a:cubicBezTo>
                  <a:cubicBezTo>
                    <a:pt x="57" y="23"/>
                    <a:pt x="57" y="24"/>
                    <a:pt x="57" y="24"/>
                  </a:cubicBezTo>
                  <a:lnTo>
                    <a:pt x="55" y="27"/>
                  </a:lnTo>
                  <a:close/>
                  <a:moveTo>
                    <a:pt x="49" y="44"/>
                  </a:moveTo>
                  <a:cubicBezTo>
                    <a:pt x="49" y="45"/>
                    <a:pt x="48" y="46"/>
                    <a:pt x="47" y="46"/>
                  </a:cubicBezTo>
                  <a:cubicBezTo>
                    <a:pt x="33" y="46"/>
                    <a:pt x="33" y="46"/>
                    <a:pt x="33" y="46"/>
                  </a:cubicBezTo>
                  <a:cubicBezTo>
                    <a:pt x="33" y="32"/>
                    <a:pt x="33" y="32"/>
                    <a:pt x="33" y="32"/>
                  </a:cubicBezTo>
                  <a:cubicBezTo>
                    <a:pt x="24" y="32"/>
                    <a:pt x="24" y="32"/>
                    <a:pt x="24" y="32"/>
                  </a:cubicBezTo>
                  <a:cubicBezTo>
                    <a:pt x="24" y="46"/>
                    <a:pt x="24" y="46"/>
                    <a:pt x="24" y="46"/>
                  </a:cubicBezTo>
                  <a:cubicBezTo>
                    <a:pt x="10" y="46"/>
                    <a:pt x="10" y="46"/>
                    <a:pt x="10" y="46"/>
                  </a:cubicBezTo>
                  <a:cubicBezTo>
                    <a:pt x="9" y="46"/>
                    <a:pt x="8" y="45"/>
                    <a:pt x="8" y="44"/>
                  </a:cubicBezTo>
                  <a:cubicBezTo>
                    <a:pt x="8" y="27"/>
                    <a:pt x="8" y="27"/>
                    <a:pt x="8" y="27"/>
                  </a:cubicBezTo>
                  <a:cubicBezTo>
                    <a:pt x="8" y="27"/>
                    <a:pt x="8" y="26"/>
                    <a:pt x="8" y="26"/>
                  </a:cubicBezTo>
                  <a:cubicBezTo>
                    <a:pt x="28" y="9"/>
                    <a:pt x="28" y="9"/>
                    <a:pt x="28" y="9"/>
                  </a:cubicBezTo>
                  <a:cubicBezTo>
                    <a:pt x="49" y="26"/>
                    <a:pt x="49" y="26"/>
                    <a:pt x="49" y="26"/>
                  </a:cubicBezTo>
                  <a:cubicBezTo>
                    <a:pt x="49" y="26"/>
                    <a:pt x="49" y="27"/>
                    <a:pt x="49" y="27"/>
                  </a:cubicBezTo>
                  <a:lnTo>
                    <a:pt x="49" y="44"/>
                  </a:ln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a:ea typeface="Microsoft YaHei"/>
                <a:cs typeface="+mn-cs"/>
              </a:endParaRPr>
            </a:p>
          </p:txBody>
        </p:sp>
      </p:grpSp>
      <p:sp>
        <p:nvSpPr>
          <p:cNvPr id="18" name="TextBox 17">
            <a:extLst>
              <a:ext uri="{FF2B5EF4-FFF2-40B4-BE49-F238E27FC236}">
                <a16:creationId xmlns:a16="http://schemas.microsoft.com/office/drawing/2014/main" id="{2E21F3FF-22F1-37E1-F766-E5E8D81D22D1}"/>
              </a:ext>
            </a:extLst>
          </p:cNvPr>
          <p:cNvSpPr txBox="1"/>
          <p:nvPr userDrawn="1"/>
        </p:nvSpPr>
        <p:spPr>
          <a:xfrm>
            <a:off x="5740796" y="4272405"/>
            <a:ext cx="763029" cy="276999"/>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b="1" i="0" u="none" strike="noStrike" kern="1200" cap="none" spc="0" normalizeH="0" baseline="0" noProof="0">
                <a:ln>
                  <a:noFill/>
                </a:ln>
                <a:effectLst/>
                <a:uLnTx/>
                <a:uFillTx/>
                <a:latin typeface="Open Sans"/>
                <a:ea typeface="Microsoft YaHei"/>
                <a:cs typeface="+mn-cs"/>
              </a:rPr>
              <a:t>Aug 14</a:t>
            </a:r>
            <a:endParaRPr kumimoji="0" lang="en-US" b="0" i="0" u="none" strike="noStrike" kern="1200" cap="none" spc="0" normalizeH="0" baseline="0" noProof="0">
              <a:ln>
                <a:noFill/>
              </a:ln>
              <a:effectLst/>
              <a:uLnTx/>
              <a:uFillTx/>
              <a:latin typeface="Open Sans"/>
              <a:ea typeface="Microsoft YaHei"/>
              <a:cs typeface="+mn-cs"/>
            </a:endParaRPr>
          </a:p>
        </p:txBody>
      </p:sp>
      <p:sp>
        <p:nvSpPr>
          <p:cNvPr id="20" name="TextBox 19">
            <a:extLst>
              <a:ext uri="{FF2B5EF4-FFF2-40B4-BE49-F238E27FC236}">
                <a16:creationId xmlns:a16="http://schemas.microsoft.com/office/drawing/2014/main" id="{0ADD5B29-FEB7-CEBF-5929-EDB2915896D6}"/>
              </a:ext>
            </a:extLst>
          </p:cNvPr>
          <p:cNvSpPr txBox="1"/>
          <p:nvPr userDrawn="1"/>
        </p:nvSpPr>
        <p:spPr>
          <a:xfrm>
            <a:off x="5318052" y="4747090"/>
            <a:ext cx="1608517" cy="246221"/>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Working Sessions</a:t>
            </a:r>
          </a:p>
        </p:txBody>
      </p:sp>
      <p:sp>
        <p:nvSpPr>
          <p:cNvPr id="23" name="TextBox 22">
            <a:extLst>
              <a:ext uri="{FF2B5EF4-FFF2-40B4-BE49-F238E27FC236}">
                <a16:creationId xmlns:a16="http://schemas.microsoft.com/office/drawing/2014/main" id="{F88039E2-B4D9-148C-FB69-4935728FF4C6}"/>
              </a:ext>
            </a:extLst>
          </p:cNvPr>
          <p:cNvSpPr txBox="1"/>
          <p:nvPr userDrawn="1"/>
        </p:nvSpPr>
        <p:spPr>
          <a:xfrm>
            <a:off x="5280249" y="5037258"/>
            <a:ext cx="1684123" cy="553998"/>
          </a:xfrm>
          <a:prstGeom prst="rect">
            <a:avLst/>
          </a:prstGeom>
          <a:noFill/>
        </p:spPr>
        <p:txBody>
          <a:bodyPr wrap="square" lIns="0" tIns="0" rIns="0" bIns="0" rtlCol="0" anchor="t">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20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Begin series of working sessions with SMEs to align project plans for integration </a:t>
            </a:r>
          </a:p>
        </p:txBody>
      </p:sp>
      <p:grpSp>
        <p:nvGrpSpPr>
          <p:cNvPr id="24" name="Group 40">
            <a:extLst>
              <a:ext uri="{FF2B5EF4-FFF2-40B4-BE49-F238E27FC236}">
                <a16:creationId xmlns:a16="http://schemas.microsoft.com/office/drawing/2014/main" id="{7EF2ACCE-0229-45F3-A8F3-4A3EF0A31141}"/>
              </a:ext>
            </a:extLst>
          </p:cNvPr>
          <p:cNvGrpSpPr/>
          <p:nvPr userDrawn="1"/>
        </p:nvGrpSpPr>
        <p:grpSpPr>
          <a:xfrm>
            <a:off x="5049182" y="3668054"/>
            <a:ext cx="2151288" cy="460856"/>
            <a:chOff x="769938" y="2456536"/>
            <a:chExt cx="1613466" cy="345642"/>
          </a:xfrm>
        </p:grpSpPr>
        <p:sp>
          <p:nvSpPr>
            <p:cNvPr id="25" name="Notched Right Arrow 11">
              <a:extLst>
                <a:ext uri="{FF2B5EF4-FFF2-40B4-BE49-F238E27FC236}">
                  <a16:creationId xmlns:a16="http://schemas.microsoft.com/office/drawing/2014/main" id="{1C21057B-77C5-F7BE-88B1-84B52D1F69FE}"/>
                </a:ext>
              </a:extLst>
            </p:cNvPr>
            <p:cNvSpPr/>
            <p:nvPr/>
          </p:nvSpPr>
          <p:spPr>
            <a:xfrm>
              <a:off x="769938" y="2456536"/>
              <a:ext cx="1613466" cy="345642"/>
            </a:xfrm>
            <a:prstGeom prst="notchedRightArrow">
              <a:avLst>
                <a:gd name="adj1" fmla="val 100000"/>
                <a:gd name="adj2" fmla="val 91021"/>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26" name="Oval 25">
              <a:extLst>
                <a:ext uri="{FF2B5EF4-FFF2-40B4-BE49-F238E27FC236}">
                  <a16:creationId xmlns:a16="http://schemas.microsoft.com/office/drawing/2014/main" id="{D3BFFC1D-E7C5-8B42-F2AF-977AFA739588}"/>
                </a:ext>
              </a:extLst>
            </p:cNvPr>
            <p:cNvSpPr>
              <a:spLocks noChangeAspect="1"/>
            </p:cNvSpPr>
            <p:nvPr/>
          </p:nvSpPr>
          <p:spPr>
            <a:xfrm>
              <a:off x="1482001" y="2534688"/>
              <a:ext cx="189341" cy="189339"/>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7AC142">
                    <a:lumMod val="75000"/>
                  </a:srgbClr>
                </a:solidFill>
                <a:effectLst/>
                <a:uLnTx/>
                <a:uFillTx/>
                <a:latin typeface="Open Sans"/>
                <a:ea typeface="Microsoft YaHei"/>
                <a:cs typeface="+mn-cs"/>
              </a:endParaRPr>
            </a:p>
          </p:txBody>
        </p:sp>
      </p:grpSp>
      <p:cxnSp>
        <p:nvCxnSpPr>
          <p:cNvPr id="27" name="Straight Connector 26">
            <a:extLst>
              <a:ext uri="{FF2B5EF4-FFF2-40B4-BE49-F238E27FC236}">
                <a16:creationId xmlns:a16="http://schemas.microsoft.com/office/drawing/2014/main" id="{6C355B57-EF8A-0A9D-4E2E-4C02E70D956F}"/>
              </a:ext>
            </a:extLst>
          </p:cNvPr>
          <p:cNvCxnSpPr>
            <a:stCxn id="29" idx="7"/>
          </p:cNvCxnSpPr>
          <p:nvPr userDrawn="1"/>
        </p:nvCxnSpPr>
        <p:spPr>
          <a:xfrm>
            <a:off x="6122311" y="3071302"/>
            <a:ext cx="3165" cy="819863"/>
          </a:xfrm>
          <a:prstGeom prst="line">
            <a:avLst/>
          </a:prstGeom>
          <a:ln w="19050">
            <a:solidFill>
              <a:srgbClr val="00ABAB"/>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28" name="Group 75">
            <a:extLst>
              <a:ext uri="{FF2B5EF4-FFF2-40B4-BE49-F238E27FC236}">
                <a16:creationId xmlns:a16="http://schemas.microsoft.com/office/drawing/2014/main" id="{04FF0C1E-A271-BE0F-3C03-1536AAF96ED9}"/>
              </a:ext>
            </a:extLst>
          </p:cNvPr>
          <p:cNvGrpSpPr/>
          <p:nvPr userDrawn="1"/>
        </p:nvGrpSpPr>
        <p:grpSpPr>
          <a:xfrm>
            <a:off x="5749703" y="2171748"/>
            <a:ext cx="745215" cy="745215"/>
            <a:chOff x="4279638" y="1419610"/>
            <a:chExt cx="558911" cy="558911"/>
          </a:xfrm>
        </p:grpSpPr>
        <p:sp>
          <p:nvSpPr>
            <p:cNvPr id="29" name="Teardrop 28">
              <a:extLst>
                <a:ext uri="{FF2B5EF4-FFF2-40B4-BE49-F238E27FC236}">
                  <a16:creationId xmlns:a16="http://schemas.microsoft.com/office/drawing/2014/main" id="{10EB28C7-D7A0-7AD1-B42E-F7B887DA18B2}"/>
                </a:ext>
              </a:extLst>
            </p:cNvPr>
            <p:cNvSpPr/>
            <p:nvPr/>
          </p:nvSpPr>
          <p:spPr>
            <a:xfrm rot="8100000">
              <a:off x="4279638" y="1419610"/>
              <a:ext cx="558911" cy="558911"/>
            </a:xfrm>
            <a:prstGeom prst="teardrop">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31" name="Freeform 15">
              <a:extLst>
                <a:ext uri="{FF2B5EF4-FFF2-40B4-BE49-F238E27FC236}">
                  <a16:creationId xmlns:a16="http://schemas.microsoft.com/office/drawing/2014/main" id="{2A0435A2-92C8-EDB1-88F1-E56084611D15}"/>
                </a:ext>
              </a:extLst>
            </p:cNvPr>
            <p:cNvSpPr>
              <a:spLocks noEditPoints="1"/>
            </p:cNvSpPr>
            <p:nvPr/>
          </p:nvSpPr>
          <p:spPr bwMode="auto">
            <a:xfrm>
              <a:off x="4433364" y="1598738"/>
              <a:ext cx="266700" cy="200025"/>
            </a:xfrm>
            <a:custGeom>
              <a:avLst/>
              <a:gdLst/>
              <a:ahLst/>
              <a:cxnLst>
                <a:cxn ang="0">
                  <a:pos x="168" y="126"/>
                </a:cxn>
                <a:cxn ang="0">
                  <a:pos x="0" y="126"/>
                </a:cxn>
                <a:cxn ang="0">
                  <a:pos x="0" y="0"/>
                </a:cxn>
                <a:cxn ang="0">
                  <a:pos x="10" y="0"/>
                </a:cxn>
                <a:cxn ang="0">
                  <a:pos x="10" y="115"/>
                </a:cxn>
                <a:cxn ang="0">
                  <a:pos x="168" y="115"/>
                </a:cxn>
                <a:cxn ang="0">
                  <a:pos x="168" y="126"/>
                </a:cxn>
                <a:cxn ang="0">
                  <a:pos x="54" y="104"/>
                </a:cxn>
                <a:cxn ang="0">
                  <a:pos x="32" y="104"/>
                </a:cxn>
                <a:cxn ang="0">
                  <a:pos x="32" y="63"/>
                </a:cxn>
                <a:cxn ang="0">
                  <a:pos x="54" y="63"/>
                </a:cxn>
                <a:cxn ang="0">
                  <a:pos x="54" y="104"/>
                </a:cxn>
                <a:cxn ang="0">
                  <a:pos x="84" y="104"/>
                </a:cxn>
                <a:cxn ang="0">
                  <a:pos x="64" y="104"/>
                </a:cxn>
                <a:cxn ang="0">
                  <a:pos x="64" y="19"/>
                </a:cxn>
                <a:cxn ang="0">
                  <a:pos x="84" y="19"/>
                </a:cxn>
                <a:cxn ang="0">
                  <a:pos x="84" y="104"/>
                </a:cxn>
                <a:cxn ang="0">
                  <a:pos x="116" y="104"/>
                </a:cxn>
                <a:cxn ang="0">
                  <a:pos x="95" y="104"/>
                </a:cxn>
                <a:cxn ang="0">
                  <a:pos x="95" y="41"/>
                </a:cxn>
                <a:cxn ang="0">
                  <a:pos x="116" y="41"/>
                </a:cxn>
                <a:cxn ang="0">
                  <a:pos x="116" y="104"/>
                </a:cxn>
                <a:cxn ang="0">
                  <a:pos x="147" y="104"/>
                </a:cxn>
                <a:cxn ang="0">
                  <a:pos x="127" y="104"/>
                </a:cxn>
                <a:cxn ang="0">
                  <a:pos x="127" y="9"/>
                </a:cxn>
                <a:cxn ang="0">
                  <a:pos x="147" y="9"/>
                </a:cxn>
                <a:cxn ang="0">
                  <a:pos x="147" y="104"/>
                </a:cxn>
              </a:cxnLst>
              <a:rect l="0" t="0" r="r" b="b"/>
              <a:pathLst>
                <a:path w="168" h="126">
                  <a:moveTo>
                    <a:pt x="168" y="126"/>
                  </a:moveTo>
                  <a:lnTo>
                    <a:pt x="0" y="126"/>
                  </a:lnTo>
                  <a:lnTo>
                    <a:pt x="0" y="0"/>
                  </a:lnTo>
                  <a:lnTo>
                    <a:pt x="10" y="0"/>
                  </a:lnTo>
                  <a:lnTo>
                    <a:pt x="10" y="115"/>
                  </a:lnTo>
                  <a:lnTo>
                    <a:pt x="168" y="115"/>
                  </a:lnTo>
                  <a:lnTo>
                    <a:pt x="168" y="126"/>
                  </a:lnTo>
                  <a:close/>
                  <a:moveTo>
                    <a:pt x="54" y="104"/>
                  </a:moveTo>
                  <a:lnTo>
                    <a:pt x="32" y="104"/>
                  </a:lnTo>
                  <a:lnTo>
                    <a:pt x="32" y="63"/>
                  </a:lnTo>
                  <a:lnTo>
                    <a:pt x="54" y="63"/>
                  </a:lnTo>
                  <a:lnTo>
                    <a:pt x="54" y="104"/>
                  </a:lnTo>
                  <a:close/>
                  <a:moveTo>
                    <a:pt x="84" y="104"/>
                  </a:moveTo>
                  <a:lnTo>
                    <a:pt x="64" y="104"/>
                  </a:lnTo>
                  <a:lnTo>
                    <a:pt x="64" y="19"/>
                  </a:lnTo>
                  <a:lnTo>
                    <a:pt x="84" y="19"/>
                  </a:lnTo>
                  <a:lnTo>
                    <a:pt x="84" y="104"/>
                  </a:lnTo>
                  <a:close/>
                  <a:moveTo>
                    <a:pt x="116" y="104"/>
                  </a:moveTo>
                  <a:lnTo>
                    <a:pt x="95" y="104"/>
                  </a:lnTo>
                  <a:lnTo>
                    <a:pt x="95" y="41"/>
                  </a:lnTo>
                  <a:lnTo>
                    <a:pt x="116" y="41"/>
                  </a:lnTo>
                  <a:lnTo>
                    <a:pt x="116" y="104"/>
                  </a:lnTo>
                  <a:close/>
                  <a:moveTo>
                    <a:pt x="147" y="104"/>
                  </a:moveTo>
                  <a:lnTo>
                    <a:pt x="127" y="104"/>
                  </a:lnTo>
                  <a:lnTo>
                    <a:pt x="127" y="9"/>
                  </a:lnTo>
                  <a:lnTo>
                    <a:pt x="147" y="9"/>
                  </a:lnTo>
                  <a:lnTo>
                    <a:pt x="147" y="104"/>
                  </a:ln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a:ea typeface="Microsoft YaHei"/>
                <a:cs typeface="+mn-cs"/>
              </a:endParaRPr>
            </a:p>
          </p:txBody>
        </p:sp>
      </p:grpSp>
      <p:sp>
        <p:nvSpPr>
          <p:cNvPr id="32" name="Notched Right Arrow 17">
            <a:extLst>
              <a:ext uri="{FF2B5EF4-FFF2-40B4-BE49-F238E27FC236}">
                <a16:creationId xmlns:a16="http://schemas.microsoft.com/office/drawing/2014/main" id="{74FF790C-39C0-91E4-EBC1-7F5D0D79368D}"/>
              </a:ext>
            </a:extLst>
          </p:cNvPr>
          <p:cNvSpPr/>
          <p:nvPr userDrawn="1"/>
        </p:nvSpPr>
        <p:spPr>
          <a:xfrm>
            <a:off x="9025098" y="3668054"/>
            <a:ext cx="2151288" cy="460856"/>
          </a:xfrm>
          <a:prstGeom prst="notchedRightArrow">
            <a:avLst>
              <a:gd name="adj1" fmla="val 100000"/>
              <a:gd name="adj2" fmla="val 91021"/>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33" name="Oval 32">
            <a:extLst>
              <a:ext uri="{FF2B5EF4-FFF2-40B4-BE49-F238E27FC236}">
                <a16:creationId xmlns:a16="http://schemas.microsoft.com/office/drawing/2014/main" id="{C9F4D21F-5142-3EA3-DB4F-F9E297E91EDF}"/>
              </a:ext>
            </a:extLst>
          </p:cNvPr>
          <p:cNvSpPr>
            <a:spLocks noChangeAspect="1"/>
          </p:cNvSpPr>
          <p:nvPr userDrawn="1"/>
        </p:nvSpPr>
        <p:spPr>
          <a:xfrm>
            <a:off x="9974515" y="3772257"/>
            <a:ext cx="252455" cy="252452"/>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7AC142">
                  <a:lumMod val="75000"/>
                </a:srgbClr>
              </a:solidFill>
              <a:effectLst/>
              <a:uLnTx/>
              <a:uFillTx/>
              <a:latin typeface="Open Sans"/>
              <a:ea typeface="Microsoft YaHei"/>
              <a:cs typeface="+mn-cs"/>
            </a:endParaRPr>
          </a:p>
        </p:txBody>
      </p:sp>
      <p:sp>
        <p:nvSpPr>
          <p:cNvPr id="34" name="TextBox 33">
            <a:extLst>
              <a:ext uri="{FF2B5EF4-FFF2-40B4-BE49-F238E27FC236}">
                <a16:creationId xmlns:a16="http://schemas.microsoft.com/office/drawing/2014/main" id="{23561CB5-CA62-9DC2-AB56-1B4739894EF0}"/>
              </a:ext>
            </a:extLst>
          </p:cNvPr>
          <p:cNvSpPr txBox="1"/>
          <p:nvPr userDrawn="1"/>
        </p:nvSpPr>
        <p:spPr>
          <a:xfrm>
            <a:off x="9728423" y="4272405"/>
            <a:ext cx="730969" cy="276999"/>
          </a:xfrm>
          <a:prstGeom prst="rect">
            <a:avLst/>
          </a:prstGeom>
          <a:noFill/>
          <a:ln>
            <a:noFill/>
          </a:ln>
        </p:spPr>
        <p:txBody>
          <a:bodyPr wrap="none" lIns="0" tIns="0" rIns="0" bIns="0" rtlCol="0" anchor="ctr">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b="1" i="0" u="none" strike="noStrike" kern="1200" cap="none" spc="0" normalizeH="0" baseline="0" noProof="0">
                <a:ln>
                  <a:noFill/>
                </a:ln>
                <a:effectLst/>
                <a:uLnTx/>
                <a:uFillTx/>
                <a:latin typeface="Open Sans"/>
                <a:ea typeface="Microsoft YaHei"/>
                <a:cs typeface="+mn-cs"/>
              </a:rPr>
              <a:t>Sep 26</a:t>
            </a:r>
            <a:endParaRPr kumimoji="0" lang="en-US" b="0" i="0" u="none" strike="noStrike" kern="1200" cap="none" spc="0" normalizeH="0" baseline="0" noProof="0">
              <a:ln>
                <a:noFill/>
              </a:ln>
              <a:effectLst/>
              <a:uLnTx/>
              <a:uFillTx/>
              <a:latin typeface="Open Sans"/>
              <a:ea typeface="Microsoft YaHei"/>
              <a:cs typeface="+mn-cs"/>
            </a:endParaRPr>
          </a:p>
        </p:txBody>
      </p:sp>
      <p:cxnSp>
        <p:nvCxnSpPr>
          <p:cNvPr id="35" name="Straight Connector 34">
            <a:extLst>
              <a:ext uri="{FF2B5EF4-FFF2-40B4-BE49-F238E27FC236}">
                <a16:creationId xmlns:a16="http://schemas.microsoft.com/office/drawing/2014/main" id="{2E90BB02-2156-6E36-F5D0-7DA4E3A4B98B}"/>
              </a:ext>
            </a:extLst>
          </p:cNvPr>
          <p:cNvCxnSpPr>
            <a:cxnSpLocks/>
            <a:stCxn id="38" idx="7"/>
          </p:cNvCxnSpPr>
          <p:nvPr userDrawn="1"/>
        </p:nvCxnSpPr>
        <p:spPr>
          <a:xfrm>
            <a:off x="10093908" y="3071302"/>
            <a:ext cx="4024" cy="819863"/>
          </a:xfrm>
          <a:prstGeom prst="line">
            <a:avLst/>
          </a:prstGeom>
          <a:ln w="19050">
            <a:solidFill>
              <a:srgbClr val="009A44"/>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F7C84788-69E5-E6D6-D6D1-8536F4922DC9}"/>
              </a:ext>
            </a:extLst>
          </p:cNvPr>
          <p:cNvSpPr txBox="1"/>
          <p:nvPr userDrawn="1"/>
        </p:nvSpPr>
        <p:spPr>
          <a:xfrm>
            <a:off x="9702775" y="4747090"/>
            <a:ext cx="782265" cy="246221"/>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SteerCo.</a:t>
            </a:r>
          </a:p>
        </p:txBody>
      </p:sp>
      <p:sp>
        <p:nvSpPr>
          <p:cNvPr id="37" name="TextBox 36">
            <a:extLst>
              <a:ext uri="{FF2B5EF4-FFF2-40B4-BE49-F238E27FC236}">
                <a16:creationId xmlns:a16="http://schemas.microsoft.com/office/drawing/2014/main" id="{FF462AB5-9847-0E35-B830-3E27758ED7F6}"/>
              </a:ext>
            </a:extLst>
          </p:cNvPr>
          <p:cNvSpPr txBox="1"/>
          <p:nvPr userDrawn="1"/>
        </p:nvSpPr>
        <p:spPr>
          <a:xfrm>
            <a:off x="9076269" y="5037258"/>
            <a:ext cx="2035276" cy="553998"/>
          </a:xfrm>
          <a:prstGeom prst="rect">
            <a:avLst/>
          </a:prstGeom>
          <a:noFill/>
        </p:spPr>
        <p:txBody>
          <a:bodyPr wrap="square" lIns="0" tIns="0" rIns="0" bIns="0" rtlCol="0" anchor="t">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20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Present progress of the workstream in SteerCo. meeting</a:t>
            </a:r>
          </a:p>
        </p:txBody>
      </p:sp>
      <p:sp>
        <p:nvSpPr>
          <p:cNvPr id="38" name="Teardrop 37">
            <a:extLst>
              <a:ext uri="{FF2B5EF4-FFF2-40B4-BE49-F238E27FC236}">
                <a16:creationId xmlns:a16="http://schemas.microsoft.com/office/drawing/2014/main" id="{54F7C1D1-55AD-5A67-51D2-02D16BD948C2}"/>
              </a:ext>
            </a:extLst>
          </p:cNvPr>
          <p:cNvSpPr/>
          <p:nvPr userDrawn="1"/>
        </p:nvSpPr>
        <p:spPr>
          <a:xfrm rot="8100000">
            <a:off x="9721300" y="2171748"/>
            <a:ext cx="745215" cy="745215"/>
          </a:xfrm>
          <a:prstGeom prst="teardrop">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39" name="Freeform 152">
            <a:extLst>
              <a:ext uri="{FF2B5EF4-FFF2-40B4-BE49-F238E27FC236}">
                <a16:creationId xmlns:a16="http://schemas.microsoft.com/office/drawing/2014/main" id="{FE47E9E8-7FDE-5CAC-EF27-7F1816A465E8}"/>
              </a:ext>
            </a:extLst>
          </p:cNvPr>
          <p:cNvSpPr>
            <a:spLocks noEditPoints="1"/>
          </p:cNvSpPr>
          <p:nvPr userDrawn="1"/>
        </p:nvSpPr>
        <p:spPr bwMode="auto">
          <a:xfrm>
            <a:off x="9909651" y="2419052"/>
            <a:ext cx="368037" cy="340116"/>
          </a:xfrm>
          <a:custGeom>
            <a:avLst/>
            <a:gdLst/>
            <a:ahLst/>
            <a:cxnLst>
              <a:cxn ang="0">
                <a:pos x="67" y="20"/>
              </a:cxn>
              <a:cxn ang="0">
                <a:pos x="46" y="36"/>
              </a:cxn>
              <a:cxn ang="0">
                <a:pos x="42" y="40"/>
              </a:cxn>
              <a:cxn ang="0">
                <a:pos x="39" y="47"/>
              </a:cxn>
              <a:cxn ang="0">
                <a:pos x="44" y="52"/>
              </a:cxn>
              <a:cxn ang="0">
                <a:pos x="52" y="58"/>
              </a:cxn>
              <a:cxn ang="0">
                <a:pos x="52" y="61"/>
              </a:cxn>
              <a:cxn ang="0">
                <a:pos x="51" y="62"/>
              </a:cxn>
              <a:cxn ang="0">
                <a:pos x="17" y="62"/>
              </a:cxn>
              <a:cxn ang="0">
                <a:pos x="16" y="61"/>
              </a:cxn>
              <a:cxn ang="0">
                <a:pos x="16" y="58"/>
              </a:cxn>
              <a:cxn ang="0">
                <a:pos x="24" y="52"/>
              </a:cxn>
              <a:cxn ang="0">
                <a:pos x="29" y="47"/>
              </a:cxn>
              <a:cxn ang="0">
                <a:pos x="26" y="40"/>
              </a:cxn>
              <a:cxn ang="0">
                <a:pos x="22" y="36"/>
              </a:cxn>
              <a:cxn ang="0">
                <a:pos x="0" y="20"/>
              </a:cxn>
              <a:cxn ang="0">
                <a:pos x="0" y="15"/>
              </a:cxn>
              <a:cxn ang="0">
                <a:pos x="4" y="11"/>
              </a:cxn>
              <a:cxn ang="0">
                <a:pos x="16" y="11"/>
              </a:cxn>
              <a:cxn ang="0">
                <a:pos x="16" y="7"/>
              </a:cxn>
              <a:cxn ang="0">
                <a:pos x="22" y="0"/>
              </a:cxn>
              <a:cxn ang="0">
                <a:pos x="45" y="0"/>
              </a:cxn>
              <a:cxn ang="0">
                <a:pos x="52" y="7"/>
              </a:cxn>
              <a:cxn ang="0">
                <a:pos x="52" y="11"/>
              </a:cxn>
              <a:cxn ang="0">
                <a:pos x="63" y="11"/>
              </a:cxn>
              <a:cxn ang="0">
                <a:pos x="67" y="15"/>
              </a:cxn>
              <a:cxn ang="0">
                <a:pos x="67" y="20"/>
              </a:cxn>
              <a:cxn ang="0">
                <a:pos x="16" y="16"/>
              </a:cxn>
              <a:cxn ang="0">
                <a:pos x="6" y="16"/>
              </a:cxn>
              <a:cxn ang="0">
                <a:pos x="6" y="20"/>
              </a:cxn>
              <a:cxn ang="0">
                <a:pos x="19" y="31"/>
              </a:cxn>
              <a:cxn ang="0">
                <a:pos x="16" y="16"/>
              </a:cxn>
              <a:cxn ang="0">
                <a:pos x="62" y="16"/>
              </a:cxn>
              <a:cxn ang="0">
                <a:pos x="52" y="16"/>
              </a:cxn>
              <a:cxn ang="0">
                <a:pos x="49" y="31"/>
              </a:cxn>
              <a:cxn ang="0">
                <a:pos x="62" y="20"/>
              </a:cxn>
              <a:cxn ang="0">
                <a:pos x="62" y="16"/>
              </a:cxn>
            </a:cxnLst>
            <a:rect l="0" t="0" r="r" b="b"/>
            <a:pathLst>
              <a:path w="67" h="62">
                <a:moveTo>
                  <a:pt x="67" y="20"/>
                </a:moveTo>
                <a:cubicBezTo>
                  <a:pt x="67" y="27"/>
                  <a:pt x="58" y="36"/>
                  <a:pt x="46" y="36"/>
                </a:cubicBezTo>
                <a:cubicBezTo>
                  <a:pt x="44" y="38"/>
                  <a:pt x="42" y="40"/>
                  <a:pt x="42" y="40"/>
                </a:cubicBezTo>
                <a:cubicBezTo>
                  <a:pt x="40" y="42"/>
                  <a:pt x="39" y="44"/>
                  <a:pt x="39" y="47"/>
                </a:cubicBezTo>
                <a:cubicBezTo>
                  <a:pt x="39" y="49"/>
                  <a:pt x="40" y="52"/>
                  <a:pt x="44" y="52"/>
                </a:cubicBezTo>
                <a:cubicBezTo>
                  <a:pt x="48" y="52"/>
                  <a:pt x="52" y="54"/>
                  <a:pt x="52" y="58"/>
                </a:cubicBezTo>
                <a:cubicBezTo>
                  <a:pt x="52" y="61"/>
                  <a:pt x="52" y="61"/>
                  <a:pt x="52" y="61"/>
                </a:cubicBezTo>
                <a:cubicBezTo>
                  <a:pt x="52" y="62"/>
                  <a:pt x="51" y="62"/>
                  <a:pt x="51" y="62"/>
                </a:cubicBezTo>
                <a:cubicBezTo>
                  <a:pt x="17" y="62"/>
                  <a:pt x="17" y="62"/>
                  <a:pt x="17" y="62"/>
                </a:cubicBezTo>
                <a:cubicBezTo>
                  <a:pt x="16" y="62"/>
                  <a:pt x="16" y="62"/>
                  <a:pt x="16" y="61"/>
                </a:cubicBezTo>
                <a:cubicBezTo>
                  <a:pt x="16" y="58"/>
                  <a:pt x="16" y="58"/>
                  <a:pt x="16" y="58"/>
                </a:cubicBezTo>
                <a:cubicBezTo>
                  <a:pt x="16" y="54"/>
                  <a:pt x="20" y="52"/>
                  <a:pt x="24" y="52"/>
                </a:cubicBezTo>
                <a:cubicBezTo>
                  <a:pt x="27" y="52"/>
                  <a:pt x="29" y="49"/>
                  <a:pt x="29" y="47"/>
                </a:cubicBezTo>
                <a:cubicBezTo>
                  <a:pt x="29" y="44"/>
                  <a:pt x="28" y="42"/>
                  <a:pt x="26" y="40"/>
                </a:cubicBezTo>
                <a:cubicBezTo>
                  <a:pt x="25" y="40"/>
                  <a:pt x="24" y="38"/>
                  <a:pt x="22" y="36"/>
                </a:cubicBezTo>
                <a:cubicBezTo>
                  <a:pt x="10" y="36"/>
                  <a:pt x="0" y="27"/>
                  <a:pt x="0" y="20"/>
                </a:cubicBezTo>
                <a:cubicBezTo>
                  <a:pt x="0" y="15"/>
                  <a:pt x="0" y="15"/>
                  <a:pt x="0" y="15"/>
                </a:cubicBezTo>
                <a:cubicBezTo>
                  <a:pt x="0" y="12"/>
                  <a:pt x="2" y="11"/>
                  <a:pt x="4" y="11"/>
                </a:cubicBezTo>
                <a:cubicBezTo>
                  <a:pt x="16" y="11"/>
                  <a:pt x="16" y="11"/>
                  <a:pt x="16" y="11"/>
                </a:cubicBezTo>
                <a:cubicBezTo>
                  <a:pt x="16" y="7"/>
                  <a:pt x="16" y="7"/>
                  <a:pt x="16" y="7"/>
                </a:cubicBezTo>
                <a:cubicBezTo>
                  <a:pt x="16" y="3"/>
                  <a:pt x="19" y="0"/>
                  <a:pt x="22" y="0"/>
                </a:cubicBezTo>
                <a:cubicBezTo>
                  <a:pt x="45" y="0"/>
                  <a:pt x="45" y="0"/>
                  <a:pt x="45" y="0"/>
                </a:cubicBezTo>
                <a:cubicBezTo>
                  <a:pt x="49" y="0"/>
                  <a:pt x="52" y="3"/>
                  <a:pt x="52" y="7"/>
                </a:cubicBezTo>
                <a:cubicBezTo>
                  <a:pt x="52" y="11"/>
                  <a:pt x="52" y="11"/>
                  <a:pt x="52" y="11"/>
                </a:cubicBezTo>
                <a:cubicBezTo>
                  <a:pt x="63" y="11"/>
                  <a:pt x="63" y="11"/>
                  <a:pt x="63" y="11"/>
                </a:cubicBezTo>
                <a:cubicBezTo>
                  <a:pt x="66" y="11"/>
                  <a:pt x="67" y="12"/>
                  <a:pt x="67" y="15"/>
                </a:cubicBezTo>
                <a:lnTo>
                  <a:pt x="67" y="20"/>
                </a:lnTo>
                <a:close/>
                <a:moveTo>
                  <a:pt x="16" y="16"/>
                </a:moveTo>
                <a:cubicBezTo>
                  <a:pt x="6" y="16"/>
                  <a:pt x="6" y="16"/>
                  <a:pt x="6" y="16"/>
                </a:cubicBezTo>
                <a:cubicBezTo>
                  <a:pt x="6" y="20"/>
                  <a:pt x="6" y="20"/>
                  <a:pt x="6" y="20"/>
                </a:cubicBezTo>
                <a:cubicBezTo>
                  <a:pt x="6" y="24"/>
                  <a:pt x="11" y="29"/>
                  <a:pt x="19" y="31"/>
                </a:cubicBezTo>
                <a:cubicBezTo>
                  <a:pt x="17" y="27"/>
                  <a:pt x="16" y="22"/>
                  <a:pt x="16" y="16"/>
                </a:cubicBezTo>
                <a:close/>
                <a:moveTo>
                  <a:pt x="62" y="16"/>
                </a:moveTo>
                <a:cubicBezTo>
                  <a:pt x="52" y="16"/>
                  <a:pt x="52" y="16"/>
                  <a:pt x="52" y="16"/>
                </a:cubicBezTo>
                <a:cubicBezTo>
                  <a:pt x="52" y="22"/>
                  <a:pt x="51" y="27"/>
                  <a:pt x="49" y="31"/>
                </a:cubicBezTo>
                <a:cubicBezTo>
                  <a:pt x="57" y="29"/>
                  <a:pt x="62" y="24"/>
                  <a:pt x="62" y="20"/>
                </a:cubicBezTo>
                <a:lnTo>
                  <a:pt x="62" y="16"/>
                </a:ln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a:ea typeface="Microsoft YaHei"/>
              <a:cs typeface="+mn-cs"/>
            </a:endParaRPr>
          </a:p>
        </p:txBody>
      </p:sp>
      <p:sp>
        <p:nvSpPr>
          <p:cNvPr id="42" name="TextBox 41">
            <a:extLst>
              <a:ext uri="{FF2B5EF4-FFF2-40B4-BE49-F238E27FC236}">
                <a16:creationId xmlns:a16="http://schemas.microsoft.com/office/drawing/2014/main" id="{C2A733BA-7513-9CC9-F815-1B7FD5C7CD01}"/>
              </a:ext>
            </a:extLst>
          </p:cNvPr>
          <p:cNvSpPr txBox="1"/>
          <p:nvPr userDrawn="1"/>
        </p:nvSpPr>
        <p:spPr>
          <a:xfrm>
            <a:off x="7734129" y="3301281"/>
            <a:ext cx="730969" cy="276999"/>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b="1" i="0" u="none" strike="noStrike" kern="1200" cap="none" spc="0" normalizeH="0" baseline="0" noProof="0">
                <a:ln>
                  <a:noFill/>
                </a:ln>
                <a:effectLst/>
                <a:uLnTx/>
                <a:uFillTx/>
                <a:latin typeface="Open Sans"/>
                <a:ea typeface="Microsoft YaHei"/>
                <a:cs typeface="+mn-cs"/>
              </a:rPr>
              <a:t>Sep 19</a:t>
            </a:r>
            <a:endParaRPr kumimoji="0" lang="en-US" b="0" i="0" u="none" strike="noStrike" kern="1200" cap="none" spc="0" normalizeH="0" baseline="0" noProof="0">
              <a:ln>
                <a:noFill/>
              </a:ln>
              <a:effectLst/>
              <a:uLnTx/>
              <a:uFillTx/>
              <a:latin typeface="Open Sans"/>
              <a:ea typeface="Microsoft YaHei"/>
              <a:cs typeface="+mn-cs"/>
            </a:endParaRPr>
          </a:p>
        </p:txBody>
      </p:sp>
      <p:sp>
        <p:nvSpPr>
          <p:cNvPr id="43" name="TextBox 42">
            <a:extLst>
              <a:ext uri="{FF2B5EF4-FFF2-40B4-BE49-F238E27FC236}">
                <a16:creationId xmlns:a16="http://schemas.microsoft.com/office/drawing/2014/main" id="{8DB1A5BF-31A7-0CB9-EBB9-33DF36127EB5}"/>
              </a:ext>
            </a:extLst>
          </p:cNvPr>
          <p:cNvSpPr txBox="1"/>
          <p:nvPr userDrawn="1"/>
        </p:nvSpPr>
        <p:spPr>
          <a:xfrm>
            <a:off x="7336231" y="1941316"/>
            <a:ext cx="1526764" cy="246221"/>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Kickoff Standups</a:t>
            </a:r>
          </a:p>
        </p:txBody>
      </p:sp>
      <p:sp>
        <p:nvSpPr>
          <p:cNvPr id="46" name="TextBox 45">
            <a:extLst>
              <a:ext uri="{FF2B5EF4-FFF2-40B4-BE49-F238E27FC236}">
                <a16:creationId xmlns:a16="http://schemas.microsoft.com/office/drawing/2014/main" id="{EC10D65C-36AD-9517-A7DA-A677F14422B0}"/>
              </a:ext>
            </a:extLst>
          </p:cNvPr>
          <p:cNvSpPr txBox="1"/>
          <p:nvPr userDrawn="1"/>
        </p:nvSpPr>
        <p:spPr>
          <a:xfrm>
            <a:off x="7105634" y="2231484"/>
            <a:ext cx="1987959" cy="369332"/>
          </a:xfrm>
          <a:prstGeom prst="rect">
            <a:avLst/>
          </a:prstGeom>
          <a:noFill/>
        </p:spPr>
        <p:txBody>
          <a:bodyPr wrap="square" lIns="0" tIns="0" rIns="0" bIns="0" rtlCol="0" anchor="t">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20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Begin bi-weekly standups with workstream leads</a:t>
            </a:r>
          </a:p>
        </p:txBody>
      </p:sp>
      <p:grpSp>
        <p:nvGrpSpPr>
          <p:cNvPr id="47" name="Group 43">
            <a:extLst>
              <a:ext uri="{FF2B5EF4-FFF2-40B4-BE49-F238E27FC236}">
                <a16:creationId xmlns:a16="http://schemas.microsoft.com/office/drawing/2014/main" id="{C9CC3DA6-0D1D-051C-B82B-46ADD8BC17EE}"/>
              </a:ext>
            </a:extLst>
          </p:cNvPr>
          <p:cNvGrpSpPr/>
          <p:nvPr userDrawn="1"/>
        </p:nvGrpSpPr>
        <p:grpSpPr>
          <a:xfrm>
            <a:off x="7037139" y="3668054"/>
            <a:ext cx="2151288" cy="460856"/>
            <a:chOff x="769938" y="2456536"/>
            <a:chExt cx="1613466" cy="345642"/>
          </a:xfrm>
        </p:grpSpPr>
        <p:sp>
          <p:nvSpPr>
            <p:cNvPr id="48" name="Notched Right Arrow 14">
              <a:extLst>
                <a:ext uri="{FF2B5EF4-FFF2-40B4-BE49-F238E27FC236}">
                  <a16:creationId xmlns:a16="http://schemas.microsoft.com/office/drawing/2014/main" id="{BF9E92C8-750E-F018-8C02-D4F3AF11FBCF}"/>
                </a:ext>
              </a:extLst>
            </p:cNvPr>
            <p:cNvSpPr/>
            <p:nvPr/>
          </p:nvSpPr>
          <p:spPr>
            <a:xfrm>
              <a:off x="769938" y="2456536"/>
              <a:ext cx="1613466" cy="345642"/>
            </a:xfrm>
            <a:prstGeom prst="notchedRightArrow">
              <a:avLst>
                <a:gd name="adj1" fmla="val 100000"/>
                <a:gd name="adj2" fmla="val 91021"/>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49" name="Oval 48">
              <a:extLst>
                <a:ext uri="{FF2B5EF4-FFF2-40B4-BE49-F238E27FC236}">
                  <a16:creationId xmlns:a16="http://schemas.microsoft.com/office/drawing/2014/main" id="{6AD5FDD6-677C-364F-1C52-8EDA1A964E2C}"/>
                </a:ext>
              </a:extLst>
            </p:cNvPr>
            <p:cNvSpPr>
              <a:spLocks noChangeAspect="1"/>
            </p:cNvSpPr>
            <p:nvPr/>
          </p:nvSpPr>
          <p:spPr>
            <a:xfrm>
              <a:off x="1482001" y="2534688"/>
              <a:ext cx="189341" cy="189339"/>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7AC142">
                    <a:lumMod val="75000"/>
                  </a:srgbClr>
                </a:solidFill>
                <a:effectLst/>
                <a:uLnTx/>
                <a:uFillTx/>
                <a:latin typeface="Open Sans"/>
                <a:ea typeface="Microsoft YaHei"/>
                <a:cs typeface="+mn-cs"/>
              </a:endParaRPr>
            </a:p>
          </p:txBody>
        </p:sp>
      </p:grpSp>
      <p:cxnSp>
        <p:nvCxnSpPr>
          <p:cNvPr id="50" name="Straight Connector 49">
            <a:extLst>
              <a:ext uri="{FF2B5EF4-FFF2-40B4-BE49-F238E27FC236}">
                <a16:creationId xmlns:a16="http://schemas.microsoft.com/office/drawing/2014/main" id="{86750726-CED9-5F18-5B22-0F50D2CE4930}"/>
              </a:ext>
            </a:extLst>
          </p:cNvPr>
          <p:cNvCxnSpPr>
            <a:stCxn id="52" idx="7"/>
          </p:cNvCxnSpPr>
          <p:nvPr userDrawn="1"/>
        </p:nvCxnSpPr>
        <p:spPr>
          <a:xfrm flipV="1">
            <a:off x="8099614" y="3903865"/>
            <a:ext cx="11551" cy="819864"/>
          </a:xfrm>
          <a:prstGeom prst="line">
            <a:avLst/>
          </a:prstGeom>
          <a:ln w="19050">
            <a:solidFill>
              <a:srgbClr val="43B02A"/>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51" name="Group 76">
            <a:extLst>
              <a:ext uri="{FF2B5EF4-FFF2-40B4-BE49-F238E27FC236}">
                <a16:creationId xmlns:a16="http://schemas.microsoft.com/office/drawing/2014/main" id="{BD722368-788A-75AB-20FE-DE39D9BD51CA}"/>
              </a:ext>
            </a:extLst>
          </p:cNvPr>
          <p:cNvGrpSpPr/>
          <p:nvPr userDrawn="1"/>
        </p:nvGrpSpPr>
        <p:grpSpPr>
          <a:xfrm>
            <a:off x="7727006" y="4878068"/>
            <a:ext cx="745215" cy="745215"/>
            <a:chOff x="5768905" y="3449350"/>
            <a:chExt cx="558911" cy="558911"/>
          </a:xfrm>
        </p:grpSpPr>
        <p:sp>
          <p:nvSpPr>
            <p:cNvPr id="52" name="Teardrop 51">
              <a:extLst>
                <a:ext uri="{FF2B5EF4-FFF2-40B4-BE49-F238E27FC236}">
                  <a16:creationId xmlns:a16="http://schemas.microsoft.com/office/drawing/2014/main" id="{B31C0172-3EFC-45B7-4169-D360B77A986E}"/>
                </a:ext>
              </a:extLst>
            </p:cNvPr>
            <p:cNvSpPr/>
            <p:nvPr/>
          </p:nvSpPr>
          <p:spPr>
            <a:xfrm rot="18900000">
              <a:off x="5768905" y="3449350"/>
              <a:ext cx="558911" cy="558911"/>
            </a:xfrm>
            <a:prstGeom prst="teardrop">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53" name="Freeform 57">
              <a:extLst>
                <a:ext uri="{FF2B5EF4-FFF2-40B4-BE49-F238E27FC236}">
                  <a16:creationId xmlns:a16="http://schemas.microsoft.com/office/drawing/2014/main" id="{81496F30-E267-B93D-797E-18CACEB83CFB}"/>
                </a:ext>
              </a:extLst>
            </p:cNvPr>
            <p:cNvSpPr>
              <a:spLocks noEditPoints="1"/>
            </p:cNvSpPr>
            <p:nvPr/>
          </p:nvSpPr>
          <p:spPr bwMode="auto">
            <a:xfrm>
              <a:off x="5935988" y="3605501"/>
              <a:ext cx="231093" cy="231093"/>
            </a:xfrm>
            <a:custGeom>
              <a:avLst/>
              <a:gdLst/>
              <a:ahLst/>
              <a:cxnLst>
                <a:cxn ang="0">
                  <a:pos x="55" y="31"/>
                </a:cxn>
                <a:cxn ang="0">
                  <a:pos x="54" y="33"/>
                </a:cxn>
                <a:cxn ang="0">
                  <a:pos x="47" y="34"/>
                </a:cxn>
                <a:cxn ang="0">
                  <a:pos x="46" y="37"/>
                </a:cxn>
                <a:cxn ang="0">
                  <a:pos x="49" y="42"/>
                </a:cxn>
                <a:cxn ang="0">
                  <a:pos x="50" y="43"/>
                </a:cxn>
                <a:cxn ang="0">
                  <a:pos x="49" y="44"/>
                </a:cxn>
                <a:cxn ang="0">
                  <a:pos x="43" y="50"/>
                </a:cxn>
                <a:cxn ang="0">
                  <a:pos x="42" y="50"/>
                </a:cxn>
                <a:cxn ang="0">
                  <a:pos x="37" y="46"/>
                </a:cxn>
                <a:cxn ang="0">
                  <a:pos x="33" y="47"/>
                </a:cxn>
                <a:cxn ang="0">
                  <a:pos x="32" y="54"/>
                </a:cxn>
                <a:cxn ang="0">
                  <a:pos x="31" y="55"/>
                </a:cxn>
                <a:cxn ang="0">
                  <a:pos x="23" y="55"/>
                </a:cxn>
                <a:cxn ang="0">
                  <a:pos x="22" y="54"/>
                </a:cxn>
                <a:cxn ang="0">
                  <a:pos x="21" y="47"/>
                </a:cxn>
                <a:cxn ang="0">
                  <a:pos x="18" y="46"/>
                </a:cxn>
                <a:cxn ang="0">
                  <a:pos x="13" y="50"/>
                </a:cxn>
                <a:cxn ang="0">
                  <a:pos x="12" y="50"/>
                </a:cxn>
                <a:cxn ang="0">
                  <a:pos x="11" y="50"/>
                </a:cxn>
                <a:cxn ang="0">
                  <a:pos x="5" y="44"/>
                </a:cxn>
                <a:cxn ang="0">
                  <a:pos x="5" y="43"/>
                </a:cxn>
                <a:cxn ang="0">
                  <a:pos x="5" y="42"/>
                </a:cxn>
                <a:cxn ang="0">
                  <a:pos x="9" y="37"/>
                </a:cxn>
                <a:cxn ang="0">
                  <a:pos x="7" y="33"/>
                </a:cxn>
                <a:cxn ang="0">
                  <a:pos x="1" y="33"/>
                </a:cxn>
                <a:cxn ang="0">
                  <a:pos x="0" y="31"/>
                </a:cxn>
                <a:cxn ang="0">
                  <a:pos x="0" y="23"/>
                </a:cxn>
                <a:cxn ang="0">
                  <a:pos x="1" y="22"/>
                </a:cxn>
                <a:cxn ang="0">
                  <a:pos x="7" y="21"/>
                </a:cxn>
                <a:cxn ang="0">
                  <a:pos x="9" y="18"/>
                </a:cxn>
                <a:cxn ang="0">
                  <a:pos x="5" y="13"/>
                </a:cxn>
                <a:cxn ang="0">
                  <a:pos x="5" y="12"/>
                </a:cxn>
                <a:cxn ang="0">
                  <a:pos x="5" y="11"/>
                </a:cxn>
                <a:cxn ang="0">
                  <a:pos x="12" y="5"/>
                </a:cxn>
                <a:cxn ang="0">
                  <a:pos x="13" y="5"/>
                </a:cxn>
                <a:cxn ang="0">
                  <a:pos x="18" y="9"/>
                </a:cxn>
                <a:cxn ang="0">
                  <a:pos x="21" y="8"/>
                </a:cxn>
                <a:cxn ang="0">
                  <a:pos x="22" y="1"/>
                </a:cxn>
                <a:cxn ang="0">
                  <a:pos x="23" y="0"/>
                </a:cxn>
                <a:cxn ang="0">
                  <a:pos x="31" y="0"/>
                </a:cxn>
                <a:cxn ang="0">
                  <a:pos x="32" y="1"/>
                </a:cxn>
                <a:cxn ang="0">
                  <a:pos x="33" y="8"/>
                </a:cxn>
                <a:cxn ang="0">
                  <a:pos x="37" y="9"/>
                </a:cxn>
                <a:cxn ang="0">
                  <a:pos x="42" y="5"/>
                </a:cxn>
                <a:cxn ang="0">
                  <a:pos x="43" y="5"/>
                </a:cxn>
                <a:cxn ang="0">
                  <a:pos x="43" y="5"/>
                </a:cxn>
                <a:cxn ang="0">
                  <a:pos x="49" y="11"/>
                </a:cxn>
                <a:cxn ang="0">
                  <a:pos x="50" y="12"/>
                </a:cxn>
                <a:cxn ang="0">
                  <a:pos x="49" y="13"/>
                </a:cxn>
                <a:cxn ang="0">
                  <a:pos x="46" y="18"/>
                </a:cxn>
                <a:cxn ang="0">
                  <a:pos x="47" y="21"/>
                </a:cxn>
                <a:cxn ang="0">
                  <a:pos x="54" y="22"/>
                </a:cxn>
                <a:cxn ang="0">
                  <a:pos x="55" y="23"/>
                </a:cxn>
                <a:cxn ang="0">
                  <a:pos x="55" y="31"/>
                </a:cxn>
                <a:cxn ang="0">
                  <a:pos x="27" y="18"/>
                </a:cxn>
                <a:cxn ang="0">
                  <a:pos x="18" y="27"/>
                </a:cxn>
                <a:cxn ang="0">
                  <a:pos x="27" y="36"/>
                </a:cxn>
                <a:cxn ang="0">
                  <a:pos x="36" y="27"/>
                </a:cxn>
                <a:cxn ang="0">
                  <a:pos x="27" y="18"/>
                </a:cxn>
              </a:cxnLst>
              <a:rect l="0" t="0" r="r" b="b"/>
              <a:pathLst>
                <a:path w="55" h="55">
                  <a:moveTo>
                    <a:pt x="55" y="31"/>
                  </a:moveTo>
                  <a:cubicBezTo>
                    <a:pt x="55" y="32"/>
                    <a:pt x="54" y="33"/>
                    <a:pt x="54" y="33"/>
                  </a:cubicBezTo>
                  <a:cubicBezTo>
                    <a:pt x="47" y="34"/>
                    <a:pt x="47" y="34"/>
                    <a:pt x="47" y="34"/>
                  </a:cubicBezTo>
                  <a:cubicBezTo>
                    <a:pt x="47" y="35"/>
                    <a:pt x="46" y="36"/>
                    <a:pt x="46" y="37"/>
                  </a:cubicBezTo>
                  <a:cubicBezTo>
                    <a:pt x="47" y="39"/>
                    <a:pt x="48" y="40"/>
                    <a:pt x="49" y="42"/>
                  </a:cubicBezTo>
                  <a:cubicBezTo>
                    <a:pt x="50" y="42"/>
                    <a:pt x="50" y="42"/>
                    <a:pt x="50" y="43"/>
                  </a:cubicBezTo>
                  <a:cubicBezTo>
                    <a:pt x="50" y="43"/>
                    <a:pt x="50" y="43"/>
                    <a:pt x="49" y="44"/>
                  </a:cubicBezTo>
                  <a:cubicBezTo>
                    <a:pt x="49" y="45"/>
                    <a:pt x="44" y="50"/>
                    <a:pt x="43" y="50"/>
                  </a:cubicBezTo>
                  <a:cubicBezTo>
                    <a:pt x="42" y="50"/>
                    <a:pt x="42" y="50"/>
                    <a:pt x="42" y="50"/>
                  </a:cubicBezTo>
                  <a:cubicBezTo>
                    <a:pt x="37" y="46"/>
                    <a:pt x="37" y="46"/>
                    <a:pt x="37" y="46"/>
                  </a:cubicBezTo>
                  <a:cubicBezTo>
                    <a:pt x="36" y="46"/>
                    <a:pt x="35" y="47"/>
                    <a:pt x="33" y="47"/>
                  </a:cubicBezTo>
                  <a:cubicBezTo>
                    <a:pt x="33" y="49"/>
                    <a:pt x="33" y="52"/>
                    <a:pt x="32" y="54"/>
                  </a:cubicBezTo>
                  <a:cubicBezTo>
                    <a:pt x="32" y="54"/>
                    <a:pt x="32" y="55"/>
                    <a:pt x="31" y="55"/>
                  </a:cubicBezTo>
                  <a:cubicBezTo>
                    <a:pt x="23" y="55"/>
                    <a:pt x="23" y="55"/>
                    <a:pt x="23" y="55"/>
                  </a:cubicBezTo>
                  <a:cubicBezTo>
                    <a:pt x="23" y="55"/>
                    <a:pt x="22" y="54"/>
                    <a:pt x="22" y="54"/>
                  </a:cubicBezTo>
                  <a:cubicBezTo>
                    <a:pt x="21" y="47"/>
                    <a:pt x="21" y="47"/>
                    <a:pt x="21" y="47"/>
                  </a:cubicBezTo>
                  <a:cubicBezTo>
                    <a:pt x="20" y="47"/>
                    <a:pt x="19" y="46"/>
                    <a:pt x="18" y="46"/>
                  </a:cubicBezTo>
                  <a:cubicBezTo>
                    <a:pt x="13" y="50"/>
                    <a:pt x="13" y="50"/>
                    <a:pt x="13" y="50"/>
                  </a:cubicBezTo>
                  <a:cubicBezTo>
                    <a:pt x="12" y="50"/>
                    <a:pt x="12" y="50"/>
                    <a:pt x="12" y="50"/>
                  </a:cubicBezTo>
                  <a:cubicBezTo>
                    <a:pt x="11" y="50"/>
                    <a:pt x="11" y="50"/>
                    <a:pt x="11" y="50"/>
                  </a:cubicBezTo>
                  <a:cubicBezTo>
                    <a:pt x="9" y="48"/>
                    <a:pt x="7" y="46"/>
                    <a:pt x="5" y="44"/>
                  </a:cubicBezTo>
                  <a:cubicBezTo>
                    <a:pt x="5" y="43"/>
                    <a:pt x="5" y="43"/>
                    <a:pt x="5" y="43"/>
                  </a:cubicBezTo>
                  <a:cubicBezTo>
                    <a:pt x="5" y="42"/>
                    <a:pt x="5" y="42"/>
                    <a:pt x="5" y="42"/>
                  </a:cubicBezTo>
                  <a:cubicBezTo>
                    <a:pt x="6" y="40"/>
                    <a:pt x="8" y="39"/>
                    <a:pt x="9" y="37"/>
                  </a:cubicBezTo>
                  <a:cubicBezTo>
                    <a:pt x="8" y="36"/>
                    <a:pt x="8" y="35"/>
                    <a:pt x="7" y="33"/>
                  </a:cubicBezTo>
                  <a:cubicBezTo>
                    <a:pt x="1" y="33"/>
                    <a:pt x="1" y="33"/>
                    <a:pt x="1" y="33"/>
                  </a:cubicBezTo>
                  <a:cubicBezTo>
                    <a:pt x="0" y="32"/>
                    <a:pt x="0" y="32"/>
                    <a:pt x="0" y="31"/>
                  </a:cubicBezTo>
                  <a:cubicBezTo>
                    <a:pt x="0" y="23"/>
                    <a:pt x="0" y="23"/>
                    <a:pt x="0" y="23"/>
                  </a:cubicBezTo>
                  <a:cubicBezTo>
                    <a:pt x="0" y="23"/>
                    <a:pt x="0" y="22"/>
                    <a:pt x="1" y="22"/>
                  </a:cubicBezTo>
                  <a:cubicBezTo>
                    <a:pt x="7" y="21"/>
                    <a:pt x="7" y="21"/>
                    <a:pt x="7" y="21"/>
                  </a:cubicBezTo>
                  <a:cubicBezTo>
                    <a:pt x="8" y="20"/>
                    <a:pt x="8" y="19"/>
                    <a:pt x="9" y="18"/>
                  </a:cubicBezTo>
                  <a:cubicBezTo>
                    <a:pt x="8" y="16"/>
                    <a:pt x="6" y="14"/>
                    <a:pt x="5" y="13"/>
                  </a:cubicBezTo>
                  <a:cubicBezTo>
                    <a:pt x="5" y="13"/>
                    <a:pt x="5" y="12"/>
                    <a:pt x="5" y="12"/>
                  </a:cubicBezTo>
                  <a:cubicBezTo>
                    <a:pt x="5" y="12"/>
                    <a:pt x="5" y="11"/>
                    <a:pt x="5" y="11"/>
                  </a:cubicBezTo>
                  <a:cubicBezTo>
                    <a:pt x="6" y="10"/>
                    <a:pt x="11" y="5"/>
                    <a:pt x="12" y="5"/>
                  </a:cubicBezTo>
                  <a:cubicBezTo>
                    <a:pt x="12" y="5"/>
                    <a:pt x="12" y="5"/>
                    <a:pt x="13" y="5"/>
                  </a:cubicBezTo>
                  <a:cubicBezTo>
                    <a:pt x="18" y="9"/>
                    <a:pt x="18" y="9"/>
                    <a:pt x="18" y="9"/>
                  </a:cubicBezTo>
                  <a:cubicBezTo>
                    <a:pt x="19" y="8"/>
                    <a:pt x="20" y="8"/>
                    <a:pt x="21" y="8"/>
                  </a:cubicBezTo>
                  <a:cubicBezTo>
                    <a:pt x="21" y="5"/>
                    <a:pt x="21" y="3"/>
                    <a:pt x="22" y="1"/>
                  </a:cubicBezTo>
                  <a:cubicBezTo>
                    <a:pt x="22" y="0"/>
                    <a:pt x="23" y="0"/>
                    <a:pt x="23" y="0"/>
                  </a:cubicBezTo>
                  <a:cubicBezTo>
                    <a:pt x="31" y="0"/>
                    <a:pt x="31" y="0"/>
                    <a:pt x="31" y="0"/>
                  </a:cubicBezTo>
                  <a:cubicBezTo>
                    <a:pt x="32" y="0"/>
                    <a:pt x="32" y="0"/>
                    <a:pt x="32" y="1"/>
                  </a:cubicBezTo>
                  <a:cubicBezTo>
                    <a:pt x="33" y="8"/>
                    <a:pt x="33" y="8"/>
                    <a:pt x="33" y="8"/>
                  </a:cubicBezTo>
                  <a:cubicBezTo>
                    <a:pt x="35" y="8"/>
                    <a:pt x="36" y="8"/>
                    <a:pt x="37" y="9"/>
                  </a:cubicBezTo>
                  <a:cubicBezTo>
                    <a:pt x="42" y="5"/>
                    <a:pt x="42" y="5"/>
                    <a:pt x="42" y="5"/>
                  </a:cubicBezTo>
                  <a:cubicBezTo>
                    <a:pt x="42" y="5"/>
                    <a:pt x="42" y="5"/>
                    <a:pt x="43" y="5"/>
                  </a:cubicBezTo>
                  <a:cubicBezTo>
                    <a:pt x="43" y="5"/>
                    <a:pt x="43" y="5"/>
                    <a:pt x="43" y="5"/>
                  </a:cubicBezTo>
                  <a:cubicBezTo>
                    <a:pt x="45" y="7"/>
                    <a:pt x="48" y="9"/>
                    <a:pt x="49" y="11"/>
                  </a:cubicBezTo>
                  <a:cubicBezTo>
                    <a:pt x="50" y="11"/>
                    <a:pt x="50" y="12"/>
                    <a:pt x="50" y="12"/>
                  </a:cubicBezTo>
                  <a:cubicBezTo>
                    <a:pt x="50" y="12"/>
                    <a:pt x="49" y="13"/>
                    <a:pt x="49" y="13"/>
                  </a:cubicBezTo>
                  <a:cubicBezTo>
                    <a:pt x="48" y="14"/>
                    <a:pt x="47" y="16"/>
                    <a:pt x="46" y="18"/>
                  </a:cubicBezTo>
                  <a:cubicBezTo>
                    <a:pt x="46" y="19"/>
                    <a:pt x="47" y="20"/>
                    <a:pt x="47" y="21"/>
                  </a:cubicBezTo>
                  <a:cubicBezTo>
                    <a:pt x="54" y="22"/>
                    <a:pt x="54" y="22"/>
                    <a:pt x="54" y="22"/>
                  </a:cubicBezTo>
                  <a:cubicBezTo>
                    <a:pt x="54" y="22"/>
                    <a:pt x="55" y="23"/>
                    <a:pt x="55" y="23"/>
                  </a:cubicBezTo>
                  <a:lnTo>
                    <a:pt x="55" y="31"/>
                  </a:lnTo>
                  <a:close/>
                  <a:moveTo>
                    <a:pt x="27" y="18"/>
                  </a:moveTo>
                  <a:cubicBezTo>
                    <a:pt x="22" y="18"/>
                    <a:pt x="18" y="22"/>
                    <a:pt x="18" y="27"/>
                  </a:cubicBezTo>
                  <a:cubicBezTo>
                    <a:pt x="18" y="32"/>
                    <a:pt x="22" y="36"/>
                    <a:pt x="27" y="36"/>
                  </a:cubicBezTo>
                  <a:cubicBezTo>
                    <a:pt x="32" y="36"/>
                    <a:pt x="36" y="32"/>
                    <a:pt x="36" y="27"/>
                  </a:cubicBezTo>
                  <a:cubicBezTo>
                    <a:pt x="36" y="22"/>
                    <a:pt x="32" y="18"/>
                    <a:pt x="27" y="18"/>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a:ea typeface="Microsoft YaHei"/>
                <a:cs typeface="+mn-cs"/>
              </a:endParaRPr>
            </a:p>
          </p:txBody>
        </p:sp>
      </p:grpSp>
      <p:sp>
        <p:nvSpPr>
          <p:cNvPr id="54" name="TextBox 53">
            <a:extLst>
              <a:ext uri="{FF2B5EF4-FFF2-40B4-BE49-F238E27FC236}">
                <a16:creationId xmlns:a16="http://schemas.microsoft.com/office/drawing/2014/main" id="{D55A2890-16FD-BEDE-EC20-0D5BBE4585EA}"/>
              </a:ext>
            </a:extLst>
          </p:cNvPr>
          <p:cNvSpPr txBox="1"/>
          <p:nvPr userDrawn="1"/>
        </p:nvSpPr>
        <p:spPr>
          <a:xfrm>
            <a:off x="3416898" y="3301281"/>
            <a:ext cx="1410643" cy="276999"/>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b="1" i="0" u="none" strike="noStrike" kern="1200" cap="none" spc="0" normalizeH="0" baseline="0" noProof="0">
                <a:ln>
                  <a:noFill/>
                </a:ln>
                <a:effectLst/>
                <a:uLnTx/>
                <a:uFillTx/>
                <a:latin typeface="Open Sans"/>
                <a:ea typeface="Microsoft YaHei"/>
                <a:cs typeface="+mn-cs"/>
              </a:rPr>
              <a:t>Aug 8, 13, 20</a:t>
            </a:r>
            <a:endParaRPr kumimoji="0" lang="en-US" b="0" i="0" u="none" strike="noStrike" kern="1200" cap="none" spc="0" normalizeH="0" baseline="0" noProof="0">
              <a:ln>
                <a:noFill/>
              </a:ln>
              <a:effectLst/>
              <a:uLnTx/>
              <a:uFillTx/>
              <a:latin typeface="Open Sans"/>
              <a:ea typeface="Microsoft YaHei"/>
              <a:cs typeface="+mn-cs"/>
            </a:endParaRPr>
          </a:p>
        </p:txBody>
      </p:sp>
      <p:sp>
        <p:nvSpPr>
          <p:cNvPr id="55" name="TextBox 54">
            <a:extLst>
              <a:ext uri="{FF2B5EF4-FFF2-40B4-BE49-F238E27FC236}">
                <a16:creationId xmlns:a16="http://schemas.microsoft.com/office/drawing/2014/main" id="{78F0F25F-B2F0-1354-A611-8057788A9D56}"/>
              </a:ext>
            </a:extLst>
          </p:cNvPr>
          <p:cNvSpPr txBox="1"/>
          <p:nvPr userDrawn="1"/>
        </p:nvSpPr>
        <p:spPr>
          <a:xfrm>
            <a:off x="3651738" y="1864508"/>
            <a:ext cx="940962" cy="246221"/>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Deep Dive</a:t>
            </a:r>
          </a:p>
        </p:txBody>
      </p:sp>
      <p:sp>
        <p:nvSpPr>
          <p:cNvPr id="56" name="TextBox 55">
            <a:extLst>
              <a:ext uri="{FF2B5EF4-FFF2-40B4-BE49-F238E27FC236}">
                <a16:creationId xmlns:a16="http://schemas.microsoft.com/office/drawing/2014/main" id="{4525CD80-8C1B-6BD3-86BE-A46258CF9A53}"/>
              </a:ext>
            </a:extLst>
          </p:cNvPr>
          <p:cNvSpPr txBox="1"/>
          <p:nvPr userDrawn="1"/>
        </p:nvSpPr>
        <p:spPr>
          <a:xfrm>
            <a:off x="3129497" y="2154677"/>
            <a:ext cx="1985444" cy="738664"/>
          </a:xfrm>
          <a:prstGeom prst="rect">
            <a:avLst/>
          </a:prstGeom>
          <a:noFill/>
        </p:spPr>
        <p:txBody>
          <a:bodyPr wrap="square" lIns="0" tIns="0" rIns="0" bIns="0" rtlCol="0" anchor="t">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20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Host two hour sessions with SMEs of the up/downstream systems on the architecture and model</a:t>
            </a:r>
          </a:p>
        </p:txBody>
      </p:sp>
      <p:grpSp>
        <p:nvGrpSpPr>
          <p:cNvPr id="57" name="Group 36">
            <a:extLst>
              <a:ext uri="{FF2B5EF4-FFF2-40B4-BE49-F238E27FC236}">
                <a16:creationId xmlns:a16="http://schemas.microsoft.com/office/drawing/2014/main" id="{67DBDB2C-82AF-6E7F-4D35-6F17FAA81080}"/>
              </a:ext>
            </a:extLst>
          </p:cNvPr>
          <p:cNvGrpSpPr/>
          <p:nvPr userDrawn="1"/>
        </p:nvGrpSpPr>
        <p:grpSpPr>
          <a:xfrm>
            <a:off x="3061224" y="3668054"/>
            <a:ext cx="2151288" cy="460856"/>
            <a:chOff x="769938" y="2456536"/>
            <a:chExt cx="1613466" cy="345642"/>
          </a:xfrm>
        </p:grpSpPr>
        <p:sp>
          <p:nvSpPr>
            <p:cNvPr id="58" name="Notched Right Arrow 8">
              <a:extLst>
                <a:ext uri="{FF2B5EF4-FFF2-40B4-BE49-F238E27FC236}">
                  <a16:creationId xmlns:a16="http://schemas.microsoft.com/office/drawing/2014/main" id="{4C9038C3-E5FA-BFF7-D87C-3B1E90C08BE4}"/>
                </a:ext>
              </a:extLst>
            </p:cNvPr>
            <p:cNvSpPr/>
            <p:nvPr/>
          </p:nvSpPr>
          <p:spPr>
            <a:xfrm>
              <a:off x="769938" y="2456536"/>
              <a:ext cx="1613466" cy="345642"/>
            </a:xfrm>
            <a:prstGeom prst="notchedRightArrow">
              <a:avLst>
                <a:gd name="adj1" fmla="val 100000"/>
                <a:gd name="adj2" fmla="val 91021"/>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59" name="Oval 58">
              <a:extLst>
                <a:ext uri="{FF2B5EF4-FFF2-40B4-BE49-F238E27FC236}">
                  <a16:creationId xmlns:a16="http://schemas.microsoft.com/office/drawing/2014/main" id="{B285C673-A3B1-F190-CE3E-D80BE5B7051A}"/>
                </a:ext>
              </a:extLst>
            </p:cNvPr>
            <p:cNvSpPr>
              <a:spLocks noChangeAspect="1"/>
            </p:cNvSpPr>
            <p:nvPr/>
          </p:nvSpPr>
          <p:spPr>
            <a:xfrm>
              <a:off x="1482001" y="2534688"/>
              <a:ext cx="189341" cy="189339"/>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7AC142">
                    <a:lumMod val="75000"/>
                  </a:srgbClr>
                </a:solidFill>
                <a:effectLst/>
                <a:uLnTx/>
                <a:uFillTx/>
                <a:latin typeface="Open Sans"/>
                <a:ea typeface="Microsoft YaHei"/>
                <a:cs typeface="+mn-cs"/>
              </a:endParaRPr>
            </a:p>
          </p:txBody>
        </p:sp>
      </p:grpSp>
      <p:cxnSp>
        <p:nvCxnSpPr>
          <p:cNvPr id="60" name="Straight Connector 59">
            <a:extLst>
              <a:ext uri="{FF2B5EF4-FFF2-40B4-BE49-F238E27FC236}">
                <a16:creationId xmlns:a16="http://schemas.microsoft.com/office/drawing/2014/main" id="{980F7D01-E7D5-37DB-062E-6C8CEDBD1E78}"/>
              </a:ext>
            </a:extLst>
          </p:cNvPr>
          <p:cNvCxnSpPr>
            <a:cxnSpLocks/>
          </p:cNvCxnSpPr>
          <p:nvPr userDrawn="1"/>
        </p:nvCxnSpPr>
        <p:spPr>
          <a:xfrm flipV="1">
            <a:off x="4122219" y="3892110"/>
            <a:ext cx="11113" cy="822960"/>
          </a:xfrm>
          <a:prstGeom prst="line">
            <a:avLst/>
          </a:prstGeom>
          <a:ln w="19050">
            <a:solidFill>
              <a:srgbClr val="0097A9"/>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61" name="Group 72">
            <a:extLst>
              <a:ext uri="{FF2B5EF4-FFF2-40B4-BE49-F238E27FC236}">
                <a16:creationId xmlns:a16="http://schemas.microsoft.com/office/drawing/2014/main" id="{932E4051-04C8-C811-1A93-7E939D1DF54B}"/>
              </a:ext>
            </a:extLst>
          </p:cNvPr>
          <p:cNvGrpSpPr/>
          <p:nvPr userDrawn="1"/>
        </p:nvGrpSpPr>
        <p:grpSpPr>
          <a:xfrm>
            <a:off x="3749612" y="4878068"/>
            <a:ext cx="745215" cy="745215"/>
            <a:chOff x="2786729" y="3449350"/>
            <a:chExt cx="558911" cy="558911"/>
          </a:xfrm>
        </p:grpSpPr>
        <p:sp>
          <p:nvSpPr>
            <p:cNvPr id="62" name="Teardrop 61">
              <a:extLst>
                <a:ext uri="{FF2B5EF4-FFF2-40B4-BE49-F238E27FC236}">
                  <a16:creationId xmlns:a16="http://schemas.microsoft.com/office/drawing/2014/main" id="{9F1C2176-082C-DA40-0256-446B3F19A66D}"/>
                </a:ext>
              </a:extLst>
            </p:cNvPr>
            <p:cNvSpPr/>
            <p:nvPr/>
          </p:nvSpPr>
          <p:spPr>
            <a:xfrm rot="18900000">
              <a:off x="2786729" y="3449350"/>
              <a:ext cx="558911" cy="558911"/>
            </a:xfrm>
            <a:prstGeom prst="teardrop">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63" name="Freeform 105">
              <a:extLst>
                <a:ext uri="{FF2B5EF4-FFF2-40B4-BE49-F238E27FC236}">
                  <a16:creationId xmlns:a16="http://schemas.microsoft.com/office/drawing/2014/main" id="{E7C233B3-EE8B-51E0-E52C-338E2D47B7B0}"/>
                </a:ext>
              </a:extLst>
            </p:cNvPr>
            <p:cNvSpPr>
              <a:spLocks noEditPoints="1"/>
            </p:cNvSpPr>
            <p:nvPr/>
          </p:nvSpPr>
          <p:spPr bwMode="auto">
            <a:xfrm>
              <a:off x="2965282" y="3615692"/>
              <a:ext cx="224150" cy="220902"/>
            </a:xfrm>
            <a:custGeom>
              <a:avLst/>
              <a:gdLst/>
              <a:ahLst/>
              <a:cxnLst>
                <a:cxn ang="0">
                  <a:pos x="59" y="63"/>
                </a:cxn>
                <a:cxn ang="0">
                  <a:pos x="55" y="61"/>
                </a:cxn>
                <a:cxn ang="0">
                  <a:pos x="42" y="48"/>
                </a:cxn>
                <a:cxn ang="0">
                  <a:pos x="27" y="53"/>
                </a:cxn>
                <a:cxn ang="0">
                  <a:pos x="0" y="26"/>
                </a:cxn>
                <a:cxn ang="0">
                  <a:pos x="27" y="0"/>
                </a:cxn>
                <a:cxn ang="0">
                  <a:pos x="54" y="26"/>
                </a:cxn>
                <a:cxn ang="0">
                  <a:pos x="49" y="41"/>
                </a:cxn>
                <a:cxn ang="0">
                  <a:pos x="62" y="54"/>
                </a:cxn>
                <a:cxn ang="0">
                  <a:pos x="64" y="58"/>
                </a:cxn>
                <a:cxn ang="0">
                  <a:pos x="59" y="63"/>
                </a:cxn>
                <a:cxn ang="0">
                  <a:pos x="27" y="9"/>
                </a:cxn>
                <a:cxn ang="0">
                  <a:pos x="10" y="26"/>
                </a:cxn>
                <a:cxn ang="0">
                  <a:pos x="27" y="43"/>
                </a:cxn>
                <a:cxn ang="0">
                  <a:pos x="44" y="26"/>
                </a:cxn>
                <a:cxn ang="0">
                  <a:pos x="27" y="9"/>
                </a:cxn>
              </a:cxnLst>
              <a:rect l="0" t="0" r="r" b="b"/>
              <a:pathLst>
                <a:path w="64" h="63">
                  <a:moveTo>
                    <a:pt x="59" y="63"/>
                  </a:moveTo>
                  <a:cubicBezTo>
                    <a:pt x="57" y="63"/>
                    <a:pt x="56" y="62"/>
                    <a:pt x="55" y="61"/>
                  </a:cubicBezTo>
                  <a:cubicBezTo>
                    <a:pt x="42" y="48"/>
                    <a:pt x="42" y="48"/>
                    <a:pt x="42" y="48"/>
                  </a:cubicBezTo>
                  <a:cubicBezTo>
                    <a:pt x="38" y="51"/>
                    <a:pt x="33" y="53"/>
                    <a:pt x="27" y="53"/>
                  </a:cubicBezTo>
                  <a:cubicBezTo>
                    <a:pt x="12" y="53"/>
                    <a:pt x="0" y="41"/>
                    <a:pt x="0" y="26"/>
                  </a:cubicBezTo>
                  <a:cubicBezTo>
                    <a:pt x="0" y="12"/>
                    <a:pt x="12" y="0"/>
                    <a:pt x="27" y="0"/>
                  </a:cubicBezTo>
                  <a:cubicBezTo>
                    <a:pt x="42" y="0"/>
                    <a:pt x="54" y="12"/>
                    <a:pt x="54" y="26"/>
                  </a:cubicBezTo>
                  <a:cubicBezTo>
                    <a:pt x="54" y="32"/>
                    <a:pt x="52" y="37"/>
                    <a:pt x="49" y="41"/>
                  </a:cubicBezTo>
                  <a:cubicBezTo>
                    <a:pt x="62" y="54"/>
                    <a:pt x="62" y="54"/>
                    <a:pt x="62" y="54"/>
                  </a:cubicBezTo>
                  <a:cubicBezTo>
                    <a:pt x="63" y="55"/>
                    <a:pt x="64" y="57"/>
                    <a:pt x="64" y="58"/>
                  </a:cubicBezTo>
                  <a:cubicBezTo>
                    <a:pt x="64" y="61"/>
                    <a:pt x="61" y="63"/>
                    <a:pt x="59" y="63"/>
                  </a:cubicBezTo>
                  <a:close/>
                  <a:moveTo>
                    <a:pt x="27" y="9"/>
                  </a:moveTo>
                  <a:cubicBezTo>
                    <a:pt x="18" y="9"/>
                    <a:pt x="10" y="17"/>
                    <a:pt x="10" y="26"/>
                  </a:cubicBezTo>
                  <a:cubicBezTo>
                    <a:pt x="10" y="36"/>
                    <a:pt x="18" y="43"/>
                    <a:pt x="27" y="43"/>
                  </a:cubicBezTo>
                  <a:cubicBezTo>
                    <a:pt x="37" y="43"/>
                    <a:pt x="44" y="36"/>
                    <a:pt x="44" y="26"/>
                  </a:cubicBezTo>
                  <a:cubicBezTo>
                    <a:pt x="44" y="17"/>
                    <a:pt x="37" y="9"/>
                    <a:pt x="27" y="9"/>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47B20">
                    <a:lumMod val="50000"/>
                  </a:srgbClr>
                </a:solidFill>
                <a:effectLst/>
                <a:uLnTx/>
                <a:uFillTx/>
                <a:latin typeface="Open Sans"/>
                <a:ea typeface="Microsoft YaHei"/>
                <a:cs typeface="+mn-cs"/>
              </a:endParaRPr>
            </a:p>
          </p:txBody>
        </p:sp>
      </p:grpSp>
    </p:spTree>
    <p:extLst>
      <p:ext uri="{BB962C8B-B14F-4D97-AF65-F5344CB8AC3E}">
        <p14:creationId xmlns:p14="http://schemas.microsoft.com/office/powerpoint/2010/main" val="2970255101"/>
      </p:ext>
    </p:extLst>
  </p:cSld>
  <p:clrMapOvr>
    <a:masterClrMapping/>
  </p:clrMapOvr>
  <p:transition>
    <p:fade/>
  </p:transition>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9_2 columns of text">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D58FF0B8-12F4-41CE-AD69-DD52D41C8BBD}"/>
              </a:ext>
            </a:extLst>
          </p:cNvPr>
          <p:cNvSpPr>
            <a:spLocks noGrp="1"/>
          </p:cNvSpPr>
          <p:nvPr>
            <p:ph type="body" sz="quarter" idx="13" hasCustomPrompt="1"/>
          </p:nvPr>
        </p:nvSpPr>
        <p:spPr>
          <a:xfrm>
            <a:off x="501650" y="651601"/>
            <a:ext cx="11188700" cy="334100"/>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565F50C2-3A2B-43F6-97B9-A4F3EF05E45A}"/>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3" name="Table Placeholder 4">
            <a:extLst>
              <a:ext uri="{FF2B5EF4-FFF2-40B4-BE49-F238E27FC236}">
                <a16:creationId xmlns:a16="http://schemas.microsoft.com/office/drawing/2014/main" id="{83B3D3D2-1833-09EF-F3AA-A175329DFFFF}"/>
              </a:ext>
            </a:extLst>
          </p:cNvPr>
          <p:cNvSpPr>
            <a:spLocks noGrp="1"/>
          </p:cNvSpPr>
          <p:nvPr>
            <p:ph type="tbl" sz="quarter" idx="20"/>
          </p:nvPr>
        </p:nvSpPr>
        <p:spPr>
          <a:xfrm>
            <a:off x="501649" y="6523899"/>
            <a:ext cx="11188699" cy="334101"/>
          </a:xfrm>
        </p:spPr>
        <p:txBody>
          <a:bodyPr/>
          <a:lstStyle>
            <a:lvl1pPr marL="0" indent="0">
              <a:buNone/>
              <a:defRPr i="1"/>
            </a:lvl1pPr>
          </a:lstStyle>
          <a:p>
            <a:endParaRPr lang="en-US" dirty="0"/>
          </a:p>
        </p:txBody>
      </p:sp>
      <p:sp>
        <p:nvSpPr>
          <p:cNvPr id="6" name="Rectangle 5">
            <a:extLst>
              <a:ext uri="{FF2B5EF4-FFF2-40B4-BE49-F238E27FC236}">
                <a16:creationId xmlns:a16="http://schemas.microsoft.com/office/drawing/2014/main" id="{C75A0C3A-F1C9-4867-BE08-F21592F740D5}"/>
              </a:ext>
            </a:extLst>
          </p:cNvPr>
          <p:cNvSpPr/>
          <p:nvPr userDrawn="1"/>
        </p:nvSpPr>
        <p:spPr>
          <a:xfrm>
            <a:off x="420216" y="4675323"/>
            <a:ext cx="3984274" cy="1582248"/>
          </a:xfrm>
          <a:prstGeom prst="rect">
            <a:avLst/>
          </a:prstGeom>
          <a:noFill/>
        </p:spPr>
        <p:txBody>
          <a:bodyPr wrap="square" lIns="91440" tIns="32141" rIns="64283" bIns="32141">
            <a:spAutoFit/>
          </a:bodyPr>
          <a:lstStyle/>
          <a:p>
            <a:pPr marL="0" marR="0" lvl="0" indent="0" algn="l" defTabSz="914400" rtl="0" eaLnBrk="1" fontAlgn="auto" latinLnBrk="0" hangingPunct="1">
              <a:lnSpc>
                <a:spcPct val="13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ea typeface="Frutiger Next Pro Medium" charset="0"/>
                <a:cs typeface="Frutiger Next Pro Medium" charset="0"/>
                <a:sym typeface="Frutiger Next Pro Light" charset="0"/>
              </a:rPr>
              <a:t>Technology has become ubiquitous and embedded into everyone’s lives. </a:t>
            </a:r>
          </a:p>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ea typeface="Frutiger Next Pro Medium" charset="0"/>
                <a:cs typeface="Frutiger Next Pro Medium" charset="0"/>
                <a:sym typeface="Frutiger Next Pro Light" charset="0"/>
              </a:rPr>
              <a:t>The explosion of connectivity, data, ease of use, computing power, accessibility,  and the </a:t>
            </a:r>
            <a:r>
              <a:rPr kumimoji="0" lang="en-US" sz="1100" b="1" i="0" u="none" strike="noStrike" kern="1200" cap="none" spc="0" normalizeH="0" baseline="0" noProof="0">
                <a:ln>
                  <a:noFill/>
                </a:ln>
                <a:solidFill>
                  <a:srgbClr val="000000"/>
                </a:solidFill>
                <a:effectLst/>
                <a:uLnTx/>
                <a:uFillTx/>
                <a:ea typeface="Frutiger Next Pro Medium Italic" charset="0"/>
                <a:cs typeface="Frutiger Next Pro Medium Italic" charset="0"/>
                <a:sym typeface="Frutiger Next Pro Light" charset="0"/>
              </a:rPr>
              <a:t>rapid pace of innovation </a:t>
            </a:r>
            <a:r>
              <a:rPr kumimoji="0" lang="en-US" sz="1100" b="0" i="0" u="none" strike="noStrike" kern="1200" cap="none" spc="0" normalizeH="0" baseline="0" noProof="0">
                <a:ln>
                  <a:noFill/>
                </a:ln>
                <a:solidFill>
                  <a:srgbClr val="000000"/>
                </a:solidFill>
                <a:effectLst/>
                <a:uLnTx/>
                <a:uFillTx/>
                <a:ea typeface="Frutiger Next Pro Medium" charset="0"/>
                <a:cs typeface="Frutiger Next Pro Medium" charset="0"/>
                <a:sym typeface="Frutiger Next Pro Light" charset="0"/>
              </a:rPr>
              <a:t>have made technology as important as food, water and shelter in society.</a:t>
            </a:r>
          </a:p>
        </p:txBody>
      </p:sp>
      <p:sp>
        <p:nvSpPr>
          <p:cNvPr id="7" name="Rectangle 6">
            <a:extLst>
              <a:ext uri="{FF2B5EF4-FFF2-40B4-BE49-F238E27FC236}">
                <a16:creationId xmlns:a16="http://schemas.microsoft.com/office/drawing/2014/main" id="{CF94ABC1-ED3D-2D4F-38C6-D40D711E4FF9}"/>
              </a:ext>
            </a:extLst>
          </p:cNvPr>
          <p:cNvSpPr/>
          <p:nvPr userDrawn="1"/>
        </p:nvSpPr>
        <p:spPr>
          <a:xfrm>
            <a:off x="7693257" y="1487189"/>
            <a:ext cx="3945929" cy="1802308"/>
          </a:xfrm>
          <a:prstGeom prst="rect">
            <a:avLst/>
          </a:prstGeom>
        </p:spPr>
        <p:txBody>
          <a:bodyPr wrap="square" lIns="64283" tIns="32141" rIns="64283" bIns="32141">
            <a:spAutoFit/>
          </a:bodyPr>
          <a:lstStyle/>
          <a:p>
            <a:pPr marL="0" marR="0" lvl="0" indent="0" algn="l" defTabSz="914400" rtl="0" eaLnBrk="1" fontAlgn="auto" latinLnBrk="0" hangingPunct="1">
              <a:lnSpc>
                <a:spcPct val="13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Frutiger Next Pro Medium" charset="0"/>
                <a:cs typeface="Frutiger Next Pro Medium" charset="0"/>
                <a:sym typeface="Frutiger Next Pro Light" charset="0"/>
              </a:rPr>
              <a:t>Digital technologies are woven </a:t>
            </a:r>
            <a:br>
              <a:rPr kumimoji="0" lang="en-US" sz="1400" b="0" i="0" u="none" strike="noStrike" kern="1200" cap="none" spc="0" normalizeH="0" baseline="0" noProof="0" dirty="0">
                <a:ln>
                  <a:noFill/>
                </a:ln>
                <a:solidFill>
                  <a:srgbClr val="000000"/>
                </a:solidFill>
                <a:effectLst/>
                <a:uLnTx/>
                <a:uFillTx/>
                <a:ea typeface="Frutiger Next Pro Medium" charset="0"/>
                <a:cs typeface="Frutiger Next Pro Medium" charset="0"/>
                <a:sym typeface="Frutiger Next Pro Light" charset="0"/>
              </a:rPr>
            </a:br>
            <a:r>
              <a:rPr kumimoji="0" lang="en-US" sz="1400" b="0" i="0" u="none" strike="noStrike" kern="1200" cap="none" spc="0" normalizeH="0" baseline="0" noProof="0" dirty="0">
                <a:ln>
                  <a:noFill/>
                </a:ln>
                <a:solidFill>
                  <a:srgbClr val="000000"/>
                </a:solidFill>
                <a:effectLst/>
                <a:uLnTx/>
                <a:uFillTx/>
                <a:ea typeface="Frutiger Next Pro Medium" charset="0"/>
                <a:cs typeface="Frutiger Next Pro Medium" charset="0"/>
                <a:sym typeface="Frutiger Next Pro Light" charset="0"/>
              </a:rPr>
              <a:t>into the fabric of everyday living. </a:t>
            </a:r>
          </a:p>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Frutiger Next Pro Medium" charset="0"/>
                <a:cs typeface="Frutiger Next Pro Medium" charset="0"/>
                <a:sym typeface="Frutiger Next Pro Light" charset="0"/>
              </a:rPr>
              <a:t>Family and friends stay </a:t>
            </a:r>
            <a:r>
              <a:rPr kumimoji="0" lang="en-US" sz="1100" b="1" i="0" u="none" strike="noStrike" kern="1200" cap="none" spc="0" normalizeH="0" baseline="0" noProof="0" dirty="0">
                <a:ln>
                  <a:noFill/>
                </a:ln>
                <a:solidFill>
                  <a:srgbClr val="000000"/>
                </a:solidFill>
                <a:effectLst/>
                <a:uLnTx/>
                <a:uFillTx/>
                <a:ea typeface="Frutiger Next Pro Medium Italic" charset="0"/>
                <a:cs typeface="Frutiger Next Pro Medium Italic" charset="0"/>
                <a:sym typeface="Frutiger Next Pro Light" charset="0"/>
              </a:rPr>
              <a:t>connected, scheduled, and entertained. </a:t>
            </a:r>
            <a:r>
              <a:rPr kumimoji="0" lang="en-US" sz="1100" b="0" i="0" u="none" strike="noStrike" kern="1200" cap="none" spc="0" normalizeH="0" baseline="0" noProof="0" dirty="0">
                <a:ln>
                  <a:noFill/>
                </a:ln>
                <a:solidFill>
                  <a:srgbClr val="000000"/>
                </a:solidFill>
                <a:effectLst/>
                <a:uLnTx/>
                <a:uFillTx/>
                <a:ea typeface="Frutiger Next Pro Medium" charset="0"/>
                <a:cs typeface="Frutiger Next Pro Medium" charset="0"/>
                <a:sym typeface="Frutiger Next Pro Light" charset="0"/>
              </a:rPr>
              <a:t>Technology is now necessary for entertainment, health, driving, socializing, shopping, banking, traveling, learning and dozens of other </a:t>
            </a:r>
            <a:br>
              <a:rPr kumimoji="0" lang="en-US" sz="1100" b="0" i="0" u="none" strike="noStrike" kern="1200" cap="none" spc="0" normalizeH="0" baseline="0" noProof="0" dirty="0">
                <a:ln>
                  <a:noFill/>
                </a:ln>
                <a:solidFill>
                  <a:srgbClr val="000000"/>
                </a:solidFill>
                <a:effectLst/>
                <a:uLnTx/>
                <a:uFillTx/>
                <a:ea typeface="Frutiger Next Pro Medium" charset="0"/>
                <a:cs typeface="Frutiger Next Pro Medium" charset="0"/>
                <a:sym typeface="Frutiger Next Pro Light" charset="0"/>
              </a:rPr>
            </a:br>
            <a:r>
              <a:rPr kumimoji="0" lang="en-US" sz="1100" b="0" i="0" u="none" strike="noStrike" kern="1200" cap="none" spc="0" normalizeH="0" baseline="0" noProof="0" dirty="0">
                <a:ln>
                  <a:noFill/>
                </a:ln>
                <a:solidFill>
                  <a:srgbClr val="000000"/>
                </a:solidFill>
                <a:effectLst/>
                <a:uLnTx/>
                <a:uFillTx/>
                <a:ea typeface="Frutiger Next Pro Medium" charset="0"/>
                <a:cs typeface="Frutiger Next Pro Medium" charset="0"/>
                <a:sym typeface="Frutiger Next Pro Light" charset="0"/>
              </a:rPr>
              <a:t>personal activities.</a:t>
            </a:r>
          </a:p>
        </p:txBody>
      </p:sp>
      <p:sp>
        <p:nvSpPr>
          <p:cNvPr id="10" name="Rectangle 9">
            <a:extLst>
              <a:ext uri="{FF2B5EF4-FFF2-40B4-BE49-F238E27FC236}">
                <a16:creationId xmlns:a16="http://schemas.microsoft.com/office/drawing/2014/main" id="{928ADEFD-1096-E42E-AF10-BE5D76291536}"/>
              </a:ext>
            </a:extLst>
          </p:cNvPr>
          <p:cNvSpPr/>
          <p:nvPr userDrawn="1"/>
        </p:nvSpPr>
        <p:spPr>
          <a:xfrm>
            <a:off x="7670992" y="4482790"/>
            <a:ext cx="3968194" cy="1582248"/>
          </a:xfrm>
          <a:prstGeom prst="rect">
            <a:avLst/>
          </a:prstGeom>
        </p:spPr>
        <p:txBody>
          <a:bodyPr wrap="square" lIns="64283" tIns="32141" rIns="64283" bIns="32141">
            <a:spAutoFit/>
          </a:bodyPr>
          <a:lstStyle/>
          <a:p>
            <a:pPr marL="0" marR="0" lvl="0" indent="0" algn="l" defTabSz="914400" rtl="0" eaLnBrk="1" fontAlgn="auto" latinLnBrk="0" hangingPunct="1">
              <a:lnSpc>
                <a:spcPct val="13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ea typeface="Frutiger Next Pro Medium" charset="0"/>
                <a:cs typeface="Frutiger Next Pro Medium" charset="0"/>
                <a:sym typeface="Frutiger Next Pro Light" charset="0"/>
              </a:rPr>
              <a:t>Digital is transforming every business and touches every employee in a unique way. </a:t>
            </a:r>
          </a:p>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ea typeface="Frutiger Next Pro Medium" charset="0"/>
                <a:cs typeface="Frutiger Next Pro Medium" charset="0"/>
                <a:sym typeface="Frutiger Next Pro Light" charset="0"/>
              </a:rPr>
              <a:t>Some industries are being turned inside out, while others are benefiting from the expanded capabilities. Marketing, customer engagement, employee productivity, sales, and many other </a:t>
            </a:r>
            <a:r>
              <a:rPr kumimoji="0" lang="en-US" sz="1100" b="1" i="0" u="none" strike="noStrike" kern="1200" cap="none" spc="0" normalizeH="0" baseline="0" noProof="0">
                <a:ln>
                  <a:noFill/>
                </a:ln>
                <a:solidFill>
                  <a:srgbClr val="000000"/>
                </a:solidFill>
                <a:effectLst/>
                <a:uLnTx/>
                <a:uFillTx/>
                <a:ea typeface="Frutiger Next Pro Medium Italic" charset="0"/>
                <a:cs typeface="Frutiger Next Pro Medium Italic" charset="0"/>
                <a:sym typeface="Frutiger Next Pro Light" charset="0"/>
              </a:rPr>
              <a:t>business functions are being redefined</a:t>
            </a:r>
            <a:r>
              <a:rPr kumimoji="0" lang="en-US" sz="1100" b="0" i="0" u="none" strike="noStrike" kern="1200" cap="none" spc="0" normalizeH="0" baseline="0" noProof="0">
                <a:ln>
                  <a:noFill/>
                </a:ln>
                <a:solidFill>
                  <a:srgbClr val="000000"/>
                </a:solidFill>
                <a:effectLst/>
                <a:uLnTx/>
                <a:uFillTx/>
                <a:ea typeface="Frutiger Next Pro Medium" charset="0"/>
                <a:cs typeface="Frutiger Next Pro Medium" charset="0"/>
                <a:sym typeface="Frutiger Next Pro Light" charset="0"/>
              </a:rPr>
              <a:t>.</a:t>
            </a:r>
          </a:p>
        </p:txBody>
      </p:sp>
      <p:sp>
        <p:nvSpPr>
          <p:cNvPr id="12" name="Title 5">
            <a:extLst>
              <a:ext uri="{FF2B5EF4-FFF2-40B4-BE49-F238E27FC236}">
                <a16:creationId xmlns:a16="http://schemas.microsoft.com/office/drawing/2014/main" id="{2546CBC8-880A-7FDC-D95E-CA906C81E7CD}"/>
              </a:ext>
            </a:extLst>
          </p:cNvPr>
          <p:cNvSpPr txBox="1">
            <a:spLocks/>
          </p:cNvSpPr>
          <p:nvPr userDrawn="1"/>
        </p:nvSpPr>
        <p:spPr>
          <a:xfrm>
            <a:off x="914400" y="694944"/>
            <a:ext cx="4879361" cy="19958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sz="4000"/>
          </a:p>
        </p:txBody>
      </p:sp>
      <p:sp>
        <p:nvSpPr>
          <p:cNvPr id="15" name="Rectangle 3">
            <a:extLst>
              <a:ext uri="{FF2B5EF4-FFF2-40B4-BE49-F238E27FC236}">
                <a16:creationId xmlns:a16="http://schemas.microsoft.com/office/drawing/2014/main" id="{F150376A-7335-A7B4-15F7-2D10AEA98926}"/>
              </a:ext>
            </a:extLst>
          </p:cNvPr>
          <p:cNvSpPr>
            <a:spLocks/>
          </p:cNvSpPr>
          <p:nvPr userDrawn="1"/>
        </p:nvSpPr>
        <p:spPr bwMode="auto">
          <a:xfrm>
            <a:off x="511090" y="3705122"/>
            <a:ext cx="2787243" cy="510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Frutiger Next Pro Medium" charset="0"/>
              </a:rPr>
              <a:t>Society</a:t>
            </a:r>
            <a:endParaRPr kumimoji="0" lang="en-US" sz="1000" u="none" strike="noStrike" kern="1200" cap="none" spc="20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Frutiger Next Pro Medium"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20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Frutiger Next Pro Medium"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20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Frutiger Next Pro Medium" charset="0"/>
              </a:rPr>
              <a:t>TECHNOLOGY AS AN ENABLER FOR THE DIGITAL ERA</a:t>
            </a:r>
            <a:endParaRPr kumimoji="0" lang="en-US" sz="1000" u="none" strike="noStrike" kern="1200" cap="none" spc="20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endParaRPr>
          </a:p>
        </p:txBody>
      </p:sp>
      <p:sp>
        <p:nvSpPr>
          <p:cNvPr id="16" name="Rectangle 3">
            <a:extLst>
              <a:ext uri="{FF2B5EF4-FFF2-40B4-BE49-F238E27FC236}">
                <a16:creationId xmlns:a16="http://schemas.microsoft.com/office/drawing/2014/main" id="{A6B01A43-AEE2-18AB-EC90-324D3DE2DAC8}"/>
              </a:ext>
            </a:extLst>
          </p:cNvPr>
          <p:cNvSpPr>
            <a:spLocks/>
          </p:cNvSpPr>
          <p:nvPr userDrawn="1"/>
        </p:nvSpPr>
        <p:spPr bwMode="auto">
          <a:xfrm>
            <a:off x="7777151" y="704682"/>
            <a:ext cx="3009737" cy="461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Frutiger Next Pro Medium" charset="0"/>
              </a:rPr>
              <a:t>Personal / Consum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20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Frutiger Next Pro Medium"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20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Frutiger Next Pro Medium" charset="0"/>
              </a:rPr>
              <a:t>THE DIGITAL LIFELINE</a:t>
            </a:r>
            <a:endParaRPr kumimoji="0" lang="en-US" sz="1000" u="none" strike="noStrike" kern="1200" cap="none" spc="20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endParaRPr>
          </a:p>
        </p:txBody>
      </p:sp>
      <p:sp>
        <p:nvSpPr>
          <p:cNvPr id="23" name="Rectangle 3">
            <a:extLst>
              <a:ext uri="{FF2B5EF4-FFF2-40B4-BE49-F238E27FC236}">
                <a16:creationId xmlns:a16="http://schemas.microsoft.com/office/drawing/2014/main" id="{3DAB05B4-8498-BD67-4BA1-4A73D4ED11DA}"/>
              </a:ext>
            </a:extLst>
          </p:cNvPr>
          <p:cNvSpPr>
            <a:spLocks/>
          </p:cNvSpPr>
          <p:nvPr userDrawn="1"/>
        </p:nvSpPr>
        <p:spPr bwMode="auto">
          <a:xfrm>
            <a:off x="7734619" y="3705122"/>
            <a:ext cx="4046255" cy="461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Frutiger Next Pro Medium" charset="0"/>
              </a:rPr>
              <a:t>Business / Employe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u="none" strike="noStrike" kern="1200" cap="none" spc="20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Frutiger Next Pro Medium"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20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Frutiger Next Pro Medium" charset="0"/>
              </a:rPr>
              <a:t>DIGITAL DISRUPTION IN EVERY SECTOR</a:t>
            </a:r>
            <a:endParaRPr kumimoji="0" lang="en-US" sz="144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Frutiger Next Pro Medium"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4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endParaRPr>
          </a:p>
        </p:txBody>
      </p:sp>
      <p:pic>
        <p:nvPicPr>
          <p:cNvPr id="24" name="Picture 23">
            <a:extLst>
              <a:ext uri="{FF2B5EF4-FFF2-40B4-BE49-F238E27FC236}">
                <a16:creationId xmlns:a16="http://schemas.microsoft.com/office/drawing/2014/main" id="{0E531A4F-144F-C8B1-815F-EC67D28265ED}"/>
              </a:ext>
            </a:extLst>
          </p:cNvPr>
          <p:cNvPicPr>
            <a:picLocks noChangeAspect="1"/>
          </p:cNvPicPr>
          <p:nvPr userDrawn="1"/>
        </p:nvPicPr>
        <p:blipFill rotWithShape="1">
          <a:blip r:embed="rId2" cstate="print">
            <a:duotone>
              <a:prstClr val="black"/>
              <a:schemeClr val="tx2">
                <a:tint val="45000"/>
                <a:satMod val="400000"/>
              </a:schemeClr>
            </a:duotone>
            <a:extLst>
              <a:ext uri="{28A0092B-C50C-407E-A947-70E740481C1C}">
                <a14:useLocalDpi xmlns:a14="http://schemas.microsoft.com/office/drawing/2010/main"/>
              </a:ext>
            </a:extLst>
          </a:blip>
          <a:srcRect/>
          <a:stretch/>
        </p:blipFill>
        <p:spPr>
          <a:xfrm>
            <a:off x="5010398" y="0"/>
            <a:ext cx="2478000" cy="6858000"/>
          </a:xfrm>
          <a:prstGeom prst="rect">
            <a:avLst/>
          </a:prstGeom>
        </p:spPr>
      </p:pic>
    </p:spTree>
    <p:extLst>
      <p:ext uri="{BB962C8B-B14F-4D97-AF65-F5344CB8AC3E}">
        <p14:creationId xmlns:p14="http://schemas.microsoft.com/office/powerpoint/2010/main" val="3383047392"/>
      </p:ext>
    </p:extLst>
  </p:cSld>
  <p:clrMapOvr>
    <a:masterClrMapping/>
  </p:clrMapOvr>
  <p:transition>
    <p:fade/>
  </p:transition>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ast_slide">
    <p:bg>
      <p:bgRef idx="1001">
        <a:schemeClr val="bg1"/>
      </p:bgRef>
    </p:bg>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332A43C0-762E-2712-5DD8-07E7F733E8B4}"/>
              </a:ext>
            </a:extLst>
          </p:cNvPr>
          <p:cNvGrpSpPr/>
          <p:nvPr userDrawn="1"/>
        </p:nvGrpSpPr>
        <p:grpSpPr>
          <a:xfrm>
            <a:off x="288073" y="3429000"/>
            <a:ext cx="2965823" cy="554473"/>
            <a:chOff x="288073" y="2215912"/>
            <a:chExt cx="2965823" cy="554473"/>
          </a:xfrm>
        </p:grpSpPr>
        <p:pic>
          <p:nvPicPr>
            <p:cNvPr id="4" name="object 3">
              <a:extLst>
                <a:ext uri="{FF2B5EF4-FFF2-40B4-BE49-F238E27FC236}">
                  <a16:creationId xmlns:a16="http://schemas.microsoft.com/office/drawing/2014/main" id="{7248B96A-38B4-13E6-B3DC-444CB25DF438}"/>
                </a:ext>
              </a:extLst>
            </p:cNvPr>
            <p:cNvPicPr/>
            <p:nvPr userDrawn="1"/>
          </p:nvPicPr>
          <p:blipFill>
            <a:blip r:embed="rId2" cstate="print"/>
            <a:stretch>
              <a:fillRect/>
            </a:stretch>
          </p:blipFill>
          <p:spPr>
            <a:xfrm>
              <a:off x="3096708" y="2613218"/>
              <a:ext cx="157188" cy="157167"/>
            </a:xfrm>
            <a:prstGeom prst="rect">
              <a:avLst/>
            </a:prstGeom>
          </p:spPr>
        </p:pic>
        <p:sp>
          <p:nvSpPr>
            <p:cNvPr id="5" name="object 4">
              <a:extLst>
                <a:ext uri="{FF2B5EF4-FFF2-40B4-BE49-F238E27FC236}">
                  <a16:creationId xmlns:a16="http://schemas.microsoft.com/office/drawing/2014/main" id="{54E1F246-38EE-920F-ECE3-1ADD3EAFEF27}"/>
                </a:ext>
              </a:extLst>
            </p:cNvPr>
            <p:cNvSpPr/>
            <p:nvPr userDrawn="1"/>
          </p:nvSpPr>
          <p:spPr>
            <a:xfrm>
              <a:off x="288073" y="2218187"/>
              <a:ext cx="450850" cy="543560"/>
            </a:xfrm>
            <a:custGeom>
              <a:avLst/>
              <a:gdLst/>
              <a:ahLst/>
              <a:cxnLst/>
              <a:rect l="l" t="t" r="r" b="b"/>
              <a:pathLst>
                <a:path w="450850" h="543559">
                  <a:moveTo>
                    <a:pt x="183690" y="0"/>
                  </a:moveTo>
                  <a:lnTo>
                    <a:pt x="0" y="0"/>
                  </a:lnTo>
                  <a:lnTo>
                    <a:pt x="0" y="543543"/>
                  </a:lnTo>
                  <a:lnTo>
                    <a:pt x="171722" y="543543"/>
                  </a:lnTo>
                  <a:lnTo>
                    <a:pt x="222357" y="540599"/>
                  </a:lnTo>
                  <a:lnTo>
                    <a:pt x="268239" y="531765"/>
                  </a:lnTo>
                  <a:lnTo>
                    <a:pt x="309371" y="517038"/>
                  </a:lnTo>
                  <a:lnTo>
                    <a:pt x="345755" y="496418"/>
                  </a:lnTo>
                  <a:lnTo>
                    <a:pt x="377391" y="469901"/>
                  </a:lnTo>
                  <a:lnTo>
                    <a:pt x="403726" y="437968"/>
                  </a:lnTo>
                  <a:lnTo>
                    <a:pt x="411992" y="423065"/>
                  </a:lnTo>
                  <a:lnTo>
                    <a:pt x="143398" y="423065"/>
                  </a:lnTo>
                  <a:lnTo>
                    <a:pt x="143398" y="118593"/>
                  </a:lnTo>
                  <a:lnTo>
                    <a:pt x="418509" y="118593"/>
                  </a:lnTo>
                  <a:lnTo>
                    <a:pt x="411450" y="104097"/>
                  </a:lnTo>
                  <a:lnTo>
                    <a:pt x="381045" y="66919"/>
                  </a:lnTo>
                  <a:lnTo>
                    <a:pt x="342631" y="37653"/>
                  </a:lnTo>
                  <a:lnTo>
                    <a:pt x="296935" y="16740"/>
                  </a:lnTo>
                  <a:lnTo>
                    <a:pt x="243956" y="4186"/>
                  </a:lnTo>
                  <a:lnTo>
                    <a:pt x="183690" y="0"/>
                  </a:lnTo>
                  <a:close/>
                </a:path>
                <a:path w="450850" h="543559">
                  <a:moveTo>
                    <a:pt x="418509" y="118593"/>
                  </a:moveTo>
                  <a:lnTo>
                    <a:pt x="185135" y="118593"/>
                  </a:lnTo>
                  <a:lnTo>
                    <a:pt x="212688" y="120846"/>
                  </a:lnTo>
                  <a:lnTo>
                    <a:pt x="236483" y="127607"/>
                  </a:lnTo>
                  <a:lnTo>
                    <a:pt x="272839" y="154644"/>
                  </a:lnTo>
                  <a:lnTo>
                    <a:pt x="294489" y="200393"/>
                  </a:lnTo>
                  <a:lnTo>
                    <a:pt x="301697" y="265436"/>
                  </a:lnTo>
                  <a:lnTo>
                    <a:pt x="299789" y="302836"/>
                  </a:lnTo>
                  <a:lnTo>
                    <a:pt x="284540" y="362232"/>
                  </a:lnTo>
                  <a:lnTo>
                    <a:pt x="253773" y="401221"/>
                  </a:lnTo>
                  <a:lnTo>
                    <a:pt x="205847" y="420640"/>
                  </a:lnTo>
                  <a:lnTo>
                    <a:pt x="175345" y="423065"/>
                  </a:lnTo>
                  <a:lnTo>
                    <a:pt x="411992" y="423065"/>
                  </a:lnTo>
                  <a:lnTo>
                    <a:pt x="424213" y="401035"/>
                  </a:lnTo>
                  <a:lnTo>
                    <a:pt x="438849" y="359105"/>
                  </a:lnTo>
                  <a:lnTo>
                    <a:pt x="447633" y="312181"/>
                  </a:lnTo>
                  <a:lnTo>
                    <a:pt x="450562" y="260264"/>
                  </a:lnTo>
                  <a:lnTo>
                    <a:pt x="446214" y="200763"/>
                  </a:lnTo>
                  <a:lnTo>
                    <a:pt x="433175" y="148710"/>
                  </a:lnTo>
                  <a:lnTo>
                    <a:pt x="418509" y="118593"/>
                  </a:lnTo>
                  <a:close/>
                </a:path>
              </a:pathLst>
            </a:custGeom>
            <a:solidFill>
              <a:srgbClr val="FFFFFF"/>
            </a:solidFill>
          </p:spPr>
          <p:txBody>
            <a:bodyPr wrap="square" lIns="0" tIns="0" rIns="0" bIns="0" rtlCol="0"/>
            <a:lstStyle/>
            <a:p>
              <a:endParaRPr/>
            </a:p>
          </p:txBody>
        </p:sp>
        <p:sp>
          <p:nvSpPr>
            <p:cNvPr id="6" name="object 5">
              <a:extLst>
                <a:ext uri="{FF2B5EF4-FFF2-40B4-BE49-F238E27FC236}">
                  <a16:creationId xmlns:a16="http://schemas.microsoft.com/office/drawing/2014/main" id="{E42B05C2-70D1-A219-9C88-AC7AEE29FABD}"/>
                </a:ext>
              </a:extLst>
            </p:cNvPr>
            <p:cNvSpPr/>
            <p:nvPr userDrawn="1"/>
          </p:nvSpPr>
          <p:spPr>
            <a:xfrm>
              <a:off x="1214243" y="2215912"/>
              <a:ext cx="137160" cy="546100"/>
            </a:xfrm>
            <a:custGeom>
              <a:avLst/>
              <a:gdLst/>
              <a:ahLst/>
              <a:cxnLst/>
              <a:rect l="l" t="t" r="r" b="b"/>
              <a:pathLst>
                <a:path w="137160" h="546100">
                  <a:moveTo>
                    <a:pt x="136624" y="0"/>
                  </a:moveTo>
                  <a:lnTo>
                    <a:pt x="0" y="0"/>
                  </a:lnTo>
                  <a:lnTo>
                    <a:pt x="0" y="545815"/>
                  </a:lnTo>
                  <a:lnTo>
                    <a:pt x="136624" y="545815"/>
                  </a:lnTo>
                  <a:lnTo>
                    <a:pt x="136624" y="0"/>
                  </a:lnTo>
                  <a:close/>
                </a:path>
              </a:pathLst>
            </a:custGeom>
            <a:solidFill>
              <a:srgbClr val="FFFFFF"/>
            </a:solidFill>
          </p:spPr>
          <p:txBody>
            <a:bodyPr wrap="square" lIns="0" tIns="0" rIns="0" bIns="0" rtlCol="0"/>
            <a:lstStyle/>
            <a:p>
              <a:endParaRPr/>
            </a:p>
          </p:txBody>
        </p:sp>
        <p:sp>
          <p:nvSpPr>
            <p:cNvPr id="7" name="object 6">
              <a:extLst>
                <a:ext uri="{FF2B5EF4-FFF2-40B4-BE49-F238E27FC236}">
                  <a16:creationId xmlns:a16="http://schemas.microsoft.com/office/drawing/2014/main" id="{B02FE3A9-2EC0-601C-EF68-4D1B21359F60}"/>
                </a:ext>
              </a:extLst>
            </p:cNvPr>
            <p:cNvSpPr/>
            <p:nvPr userDrawn="1"/>
          </p:nvSpPr>
          <p:spPr>
            <a:xfrm>
              <a:off x="1404066" y="2349133"/>
              <a:ext cx="395605" cy="420370"/>
            </a:xfrm>
            <a:custGeom>
              <a:avLst/>
              <a:gdLst/>
              <a:ahLst/>
              <a:cxnLst/>
              <a:rect l="l" t="t" r="r" b="b"/>
              <a:pathLst>
                <a:path w="395605" h="420370">
                  <a:moveTo>
                    <a:pt x="198852" y="0"/>
                  </a:moveTo>
                  <a:lnTo>
                    <a:pt x="154304" y="3431"/>
                  </a:lnTo>
                  <a:lnTo>
                    <a:pt x="115022" y="13727"/>
                  </a:lnTo>
                  <a:lnTo>
                    <a:pt x="81002" y="30886"/>
                  </a:lnTo>
                  <a:lnTo>
                    <a:pt x="29380" y="85139"/>
                  </a:lnTo>
                  <a:lnTo>
                    <a:pt x="13055" y="120900"/>
                  </a:lnTo>
                  <a:lnTo>
                    <a:pt x="3263" y="162188"/>
                  </a:lnTo>
                  <a:lnTo>
                    <a:pt x="0" y="208998"/>
                  </a:lnTo>
                  <a:lnTo>
                    <a:pt x="3340" y="255010"/>
                  </a:lnTo>
                  <a:lnTo>
                    <a:pt x="13326" y="295939"/>
                  </a:lnTo>
                  <a:lnTo>
                    <a:pt x="29985" y="331895"/>
                  </a:lnTo>
                  <a:lnTo>
                    <a:pt x="53307" y="362847"/>
                  </a:lnTo>
                  <a:lnTo>
                    <a:pt x="82248" y="387737"/>
                  </a:lnTo>
                  <a:lnTo>
                    <a:pt x="153960" y="416189"/>
                  </a:lnTo>
                  <a:lnTo>
                    <a:pt x="196737" y="419746"/>
                  </a:lnTo>
                  <a:lnTo>
                    <a:pt x="241118" y="416267"/>
                  </a:lnTo>
                  <a:lnTo>
                    <a:pt x="280288" y="405833"/>
                  </a:lnTo>
                  <a:lnTo>
                    <a:pt x="314241" y="388444"/>
                  </a:lnTo>
                  <a:lnTo>
                    <a:pt x="365840" y="333550"/>
                  </a:lnTo>
                  <a:lnTo>
                    <a:pt x="373801" y="315969"/>
                  </a:lnTo>
                  <a:lnTo>
                    <a:pt x="198130" y="315969"/>
                  </a:lnTo>
                  <a:lnTo>
                    <a:pt x="183214" y="314257"/>
                  </a:lnTo>
                  <a:lnTo>
                    <a:pt x="152361" y="288598"/>
                  </a:lnTo>
                  <a:lnTo>
                    <a:pt x="139591" y="233557"/>
                  </a:lnTo>
                  <a:lnTo>
                    <a:pt x="138739" y="208998"/>
                  </a:lnTo>
                  <a:lnTo>
                    <a:pt x="139591" y="184494"/>
                  </a:lnTo>
                  <a:lnTo>
                    <a:pt x="146403" y="145220"/>
                  </a:lnTo>
                  <a:lnTo>
                    <a:pt x="170442" y="110725"/>
                  </a:lnTo>
                  <a:lnTo>
                    <a:pt x="197428" y="104143"/>
                  </a:lnTo>
                  <a:lnTo>
                    <a:pt x="373462" y="104143"/>
                  </a:lnTo>
                  <a:lnTo>
                    <a:pt x="370920" y="98237"/>
                  </a:lnTo>
                  <a:lnTo>
                    <a:pt x="341532" y="56325"/>
                  </a:lnTo>
                  <a:lnTo>
                    <a:pt x="301927" y="25423"/>
                  </a:lnTo>
                  <a:lnTo>
                    <a:pt x="253786" y="6354"/>
                  </a:lnTo>
                  <a:lnTo>
                    <a:pt x="227163" y="1588"/>
                  </a:lnTo>
                  <a:lnTo>
                    <a:pt x="198852" y="0"/>
                  </a:lnTo>
                  <a:close/>
                </a:path>
                <a:path w="395605" h="420370">
                  <a:moveTo>
                    <a:pt x="373462" y="104143"/>
                  </a:moveTo>
                  <a:lnTo>
                    <a:pt x="197428" y="104143"/>
                  </a:lnTo>
                  <a:lnTo>
                    <a:pt x="212325" y="105798"/>
                  </a:lnTo>
                  <a:lnTo>
                    <a:pt x="224863" y="110766"/>
                  </a:lnTo>
                  <a:lnTo>
                    <a:pt x="248668" y="145457"/>
                  </a:lnTo>
                  <a:lnTo>
                    <a:pt x="255309" y="184627"/>
                  </a:lnTo>
                  <a:lnTo>
                    <a:pt x="256138" y="208998"/>
                  </a:lnTo>
                  <a:lnTo>
                    <a:pt x="255321" y="233557"/>
                  </a:lnTo>
                  <a:lnTo>
                    <a:pt x="248779" y="273357"/>
                  </a:lnTo>
                  <a:lnTo>
                    <a:pt x="225270" y="309124"/>
                  </a:lnTo>
                  <a:lnTo>
                    <a:pt x="198130" y="315969"/>
                  </a:lnTo>
                  <a:lnTo>
                    <a:pt x="373801" y="315969"/>
                  </a:lnTo>
                  <a:lnTo>
                    <a:pt x="382159" y="297510"/>
                  </a:lnTo>
                  <a:lnTo>
                    <a:pt x="391943" y="255991"/>
                  </a:lnTo>
                  <a:lnTo>
                    <a:pt x="395202" y="208998"/>
                  </a:lnTo>
                  <a:lnTo>
                    <a:pt x="393686" y="178318"/>
                  </a:lnTo>
                  <a:lnTo>
                    <a:pt x="389136" y="149625"/>
                  </a:lnTo>
                  <a:lnTo>
                    <a:pt x="381548" y="122928"/>
                  </a:lnTo>
                  <a:lnTo>
                    <a:pt x="373462" y="104143"/>
                  </a:lnTo>
                  <a:close/>
                </a:path>
              </a:pathLst>
            </a:custGeom>
            <a:solidFill>
              <a:srgbClr val="FFFFFF"/>
            </a:solidFill>
          </p:spPr>
          <p:txBody>
            <a:bodyPr wrap="square" lIns="0" tIns="0" rIns="0" bIns="0" rtlCol="0"/>
            <a:lstStyle/>
            <a:p>
              <a:endParaRPr/>
            </a:p>
          </p:txBody>
        </p:sp>
        <p:sp>
          <p:nvSpPr>
            <p:cNvPr id="8" name="object 7">
              <a:extLst>
                <a:ext uri="{FF2B5EF4-FFF2-40B4-BE49-F238E27FC236}">
                  <a16:creationId xmlns:a16="http://schemas.microsoft.com/office/drawing/2014/main" id="{6C4DF7D2-72A5-AEDE-FA4C-07EF6A26DB5E}"/>
                </a:ext>
              </a:extLst>
            </p:cNvPr>
            <p:cNvSpPr/>
            <p:nvPr userDrawn="1"/>
          </p:nvSpPr>
          <p:spPr>
            <a:xfrm>
              <a:off x="1853511" y="2356295"/>
              <a:ext cx="137160" cy="405765"/>
            </a:xfrm>
            <a:custGeom>
              <a:avLst/>
              <a:gdLst/>
              <a:ahLst/>
              <a:cxnLst/>
              <a:rect l="l" t="t" r="r" b="b"/>
              <a:pathLst>
                <a:path w="137160" h="405765">
                  <a:moveTo>
                    <a:pt x="136645" y="0"/>
                  </a:moveTo>
                  <a:lnTo>
                    <a:pt x="0" y="0"/>
                  </a:lnTo>
                  <a:lnTo>
                    <a:pt x="0" y="405432"/>
                  </a:lnTo>
                  <a:lnTo>
                    <a:pt x="136645" y="405432"/>
                  </a:lnTo>
                  <a:lnTo>
                    <a:pt x="136645" y="0"/>
                  </a:lnTo>
                  <a:close/>
                </a:path>
              </a:pathLst>
            </a:custGeom>
            <a:solidFill>
              <a:srgbClr val="FFFFFF"/>
            </a:solidFill>
          </p:spPr>
          <p:txBody>
            <a:bodyPr wrap="square" lIns="0" tIns="0" rIns="0" bIns="0" rtlCol="0"/>
            <a:lstStyle/>
            <a:p>
              <a:endParaRPr/>
            </a:p>
          </p:txBody>
        </p:sp>
        <p:sp>
          <p:nvSpPr>
            <p:cNvPr id="9" name="object 8">
              <a:extLst>
                <a:ext uri="{FF2B5EF4-FFF2-40B4-BE49-F238E27FC236}">
                  <a16:creationId xmlns:a16="http://schemas.microsoft.com/office/drawing/2014/main" id="{D9364E3F-1968-3903-CE2E-26BBA86BE26C}"/>
                </a:ext>
              </a:extLst>
            </p:cNvPr>
            <p:cNvSpPr/>
            <p:nvPr userDrawn="1"/>
          </p:nvSpPr>
          <p:spPr>
            <a:xfrm>
              <a:off x="1853511" y="2215922"/>
              <a:ext cx="137160" cy="91440"/>
            </a:xfrm>
            <a:custGeom>
              <a:avLst/>
              <a:gdLst/>
              <a:ahLst/>
              <a:cxnLst/>
              <a:rect l="l" t="t" r="r" b="b"/>
              <a:pathLst>
                <a:path w="137160" h="91439">
                  <a:moveTo>
                    <a:pt x="136645" y="0"/>
                  </a:moveTo>
                  <a:lnTo>
                    <a:pt x="0" y="0"/>
                  </a:lnTo>
                  <a:lnTo>
                    <a:pt x="0" y="91348"/>
                  </a:lnTo>
                  <a:lnTo>
                    <a:pt x="136645" y="91348"/>
                  </a:lnTo>
                  <a:lnTo>
                    <a:pt x="136645" y="0"/>
                  </a:lnTo>
                  <a:close/>
                </a:path>
              </a:pathLst>
            </a:custGeom>
            <a:solidFill>
              <a:srgbClr val="FFFFFF"/>
            </a:solidFill>
          </p:spPr>
          <p:txBody>
            <a:bodyPr wrap="square" lIns="0" tIns="0" rIns="0" bIns="0" rtlCol="0"/>
            <a:lstStyle/>
            <a:p>
              <a:endParaRPr/>
            </a:p>
          </p:txBody>
        </p:sp>
        <p:sp>
          <p:nvSpPr>
            <p:cNvPr id="10" name="object 9">
              <a:extLst>
                <a:ext uri="{FF2B5EF4-FFF2-40B4-BE49-F238E27FC236}">
                  <a16:creationId xmlns:a16="http://schemas.microsoft.com/office/drawing/2014/main" id="{45135095-B012-0AD9-1C28-5939598ACC38}"/>
                </a:ext>
              </a:extLst>
            </p:cNvPr>
            <p:cNvSpPr/>
            <p:nvPr userDrawn="1"/>
          </p:nvSpPr>
          <p:spPr>
            <a:xfrm>
              <a:off x="2044458" y="2228834"/>
              <a:ext cx="1019175" cy="540385"/>
            </a:xfrm>
            <a:custGeom>
              <a:avLst/>
              <a:gdLst/>
              <a:ahLst/>
              <a:cxnLst/>
              <a:rect l="l" t="t" r="r" b="b"/>
              <a:pathLst>
                <a:path w="1019175" h="540384">
                  <a:moveTo>
                    <a:pt x="288632" y="415505"/>
                  </a:moveTo>
                  <a:lnTo>
                    <a:pt x="270078" y="421614"/>
                  </a:lnTo>
                  <a:lnTo>
                    <a:pt x="252895" y="425983"/>
                  </a:lnTo>
                  <a:lnTo>
                    <a:pt x="237058" y="428612"/>
                  </a:lnTo>
                  <a:lnTo>
                    <a:pt x="222554" y="429488"/>
                  </a:lnTo>
                  <a:lnTo>
                    <a:pt x="206375" y="427024"/>
                  </a:lnTo>
                  <a:lnTo>
                    <a:pt x="194805" y="419646"/>
                  </a:lnTo>
                  <a:lnTo>
                    <a:pt x="187858" y="407339"/>
                  </a:lnTo>
                  <a:lnTo>
                    <a:pt x="185534" y="390105"/>
                  </a:lnTo>
                  <a:lnTo>
                    <a:pt x="185534" y="232308"/>
                  </a:lnTo>
                  <a:lnTo>
                    <a:pt x="272719" y="232308"/>
                  </a:lnTo>
                  <a:lnTo>
                    <a:pt x="272719" y="127482"/>
                  </a:lnTo>
                  <a:lnTo>
                    <a:pt x="185534" y="127482"/>
                  </a:lnTo>
                  <a:lnTo>
                    <a:pt x="185534" y="0"/>
                  </a:lnTo>
                  <a:lnTo>
                    <a:pt x="47866" y="23964"/>
                  </a:lnTo>
                  <a:lnTo>
                    <a:pt x="47866" y="127482"/>
                  </a:lnTo>
                  <a:lnTo>
                    <a:pt x="0" y="127482"/>
                  </a:lnTo>
                  <a:lnTo>
                    <a:pt x="0" y="232308"/>
                  </a:lnTo>
                  <a:lnTo>
                    <a:pt x="47866" y="232308"/>
                  </a:lnTo>
                  <a:lnTo>
                    <a:pt x="47866" y="399427"/>
                  </a:lnTo>
                  <a:lnTo>
                    <a:pt x="49758" y="432892"/>
                  </a:lnTo>
                  <a:lnTo>
                    <a:pt x="64947" y="485927"/>
                  </a:lnTo>
                  <a:lnTo>
                    <a:pt x="95846" y="520611"/>
                  </a:lnTo>
                  <a:lnTo>
                    <a:pt x="145465" y="537883"/>
                  </a:lnTo>
                  <a:lnTo>
                    <a:pt x="177469" y="540054"/>
                  </a:lnTo>
                  <a:lnTo>
                    <a:pt x="193725" y="539724"/>
                  </a:lnTo>
                  <a:lnTo>
                    <a:pt x="236029" y="534847"/>
                  </a:lnTo>
                  <a:lnTo>
                    <a:pt x="274967" y="523151"/>
                  </a:lnTo>
                  <a:lnTo>
                    <a:pt x="288632" y="517525"/>
                  </a:lnTo>
                  <a:lnTo>
                    <a:pt x="288632" y="415505"/>
                  </a:lnTo>
                  <a:close/>
                </a:path>
                <a:path w="1019175" h="540384">
                  <a:moveTo>
                    <a:pt x="604875" y="415505"/>
                  </a:moveTo>
                  <a:lnTo>
                    <a:pt x="586320" y="421614"/>
                  </a:lnTo>
                  <a:lnTo>
                    <a:pt x="569137" y="425983"/>
                  </a:lnTo>
                  <a:lnTo>
                    <a:pt x="553313" y="428612"/>
                  </a:lnTo>
                  <a:lnTo>
                    <a:pt x="538822" y="429488"/>
                  </a:lnTo>
                  <a:lnTo>
                    <a:pt x="522630" y="427024"/>
                  </a:lnTo>
                  <a:lnTo>
                    <a:pt x="511060" y="419646"/>
                  </a:lnTo>
                  <a:lnTo>
                    <a:pt x="504113" y="407339"/>
                  </a:lnTo>
                  <a:lnTo>
                    <a:pt x="501802" y="390105"/>
                  </a:lnTo>
                  <a:lnTo>
                    <a:pt x="501802" y="232308"/>
                  </a:lnTo>
                  <a:lnTo>
                    <a:pt x="589026" y="232308"/>
                  </a:lnTo>
                  <a:lnTo>
                    <a:pt x="589026" y="127482"/>
                  </a:lnTo>
                  <a:lnTo>
                    <a:pt x="501802" y="127482"/>
                  </a:lnTo>
                  <a:lnTo>
                    <a:pt x="501802" y="0"/>
                  </a:lnTo>
                  <a:lnTo>
                    <a:pt x="364121" y="22402"/>
                  </a:lnTo>
                  <a:lnTo>
                    <a:pt x="364121" y="127482"/>
                  </a:lnTo>
                  <a:lnTo>
                    <a:pt x="316217" y="127482"/>
                  </a:lnTo>
                  <a:lnTo>
                    <a:pt x="316217" y="232308"/>
                  </a:lnTo>
                  <a:lnTo>
                    <a:pt x="364121" y="232308"/>
                  </a:lnTo>
                  <a:lnTo>
                    <a:pt x="364121" y="399427"/>
                  </a:lnTo>
                  <a:lnTo>
                    <a:pt x="366026" y="432892"/>
                  </a:lnTo>
                  <a:lnTo>
                    <a:pt x="381228" y="485927"/>
                  </a:lnTo>
                  <a:lnTo>
                    <a:pt x="412127" y="520611"/>
                  </a:lnTo>
                  <a:lnTo>
                    <a:pt x="461733" y="537883"/>
                  </a:lnTo>
                  <a:lnTo>
                    <a:pt x="493737" y="540054"/>
                  </a:lnTo>
                  <a:lnTo>
                    <a:pt x="509993" y="539724"/>
                  </a:lnTo>
                  <a:lnTo>
                    <a:pt x="552284" y="534847"/>
                  </a:lnTo>
                  <a:lnTo>
                    <a:pt x="591235" y="523151"/>
                  </a:lnTo>
                  <a:lnTo>
                    <a:pt x="604875" y="517525"/>
                  </a:lnTo>
                  <a:lnTo>
                    <a:pt x="604875" y="415505"/>
                  </a:lnTo>
                  <a:close/>
                </a:path>
                <a:path w="1019175" h="540384">
                  <a:moveTo>
                    <a:pt x="1018743" y="305689"/>
                  </a:moveTo>
                  <a:lnTo>
                    <a:pt x="1015695" y="263398"/>
                  </a:lnTo>
                  <a:lnTo>
                    <a:pt x="1006551" y="226364"/>
                  </a:lnTo>
                  <a:lnTo>
                    <a:pt x="970000" y="168097"/>
                  </a:lnTo>
                  <a:lnTo>
                    <a:pt x="911085" y="132270"/>
                  </a:lnTo>
                  <a:lnTo>
                    <a:pt x="894676" y="128308"/>
                  </a:lnTo>
                  <a:lnTo>
                    <a:pt x="894676" y="279908"/>
                  </a:lnTo>
                  <a:lnTo>
                    <a:pt x="777303" y="279908"/>
                  </a:lnTo>
                  <a:lnTo>
                    <a:pt x="789051" y="239953"/>
                  </a:lnTo>
                  <a:lnTo>
                    <a:pt x="825144" y="216471"/>
                  </a:lnTo>
                  <a:lnTo>
                    <a:pt x="836688" y="215493"/>
                  </a:lnTo>
                  <a:lnTo>
                    <a:pt x="849147" y="216585"/>
                  </a:lnTo>
                  <a:lnTo>
                    <a:pt x="885304" y="242544"/>
                  </a:lnTo>
                  <a:lnTo>
                    <a:pt x="894676" y="279908"/>
                  </a:lnTo>
                  <a:lnTo>
                    <a:pt x="894676" y="128308"/>
                  </a:lnTo>
                  <a:lnTo>
                    <a:pt x="874001" y="123304"/>
                  </a:lnTo>
                  <a:lnTo>
                    <a:pt x="831824" y="120319"/>
                  </a:lnTo>
                  <a:lnTo>
                    <a:pt x="787527" y="123748"/>
                  </a:lnTo>
                  <a:lnTo>
                    <a:pt x="748652" y="134048"/>
                  </a:lnTo>
                  <a:lnTo>
                    <a:pt x="687120" y="175247"/>
                  </a:lnTo>
                  <a:lnTo>
                    <a:pt x="649135" y="242100"/>
                  </a:lnTo>
                  <a:lnTo>
                    <a:pt x="639635" y="284492"/>
                  </a:lnTo>
                  <a:lnTo>
                    <a:pt x="636460" y="332854"/>
                  </a:lnTo>
                  <a:lnTo>
                    <a:pt x="639889" y="379742"/>
                  </a:lnTo>
                  <a:lnTo>
                    <a:pt x="650138" y="420928"/>
                  </a:lnTo>
                  <a:lnTo>
                    <a:pt x="667232" y="456412"/>
                  </a:lnTo>
                  <a:lnTo>
                    <a:pt x="691159" y="486194"/>
                  </a:lnTo>
                  <a:lnTo>
                    <a:pt x="721271" y="509739"/>
                  </a:lnTo>
                  <a:lnTo>
                    <a:pt x="756907" y="526580"/>
                  </a:lnTo>
                  <a:lnTo>
                    <a:pt x="798068" y="536676"/>
                  </a:lnTo>
                  <a:lnTo>
                    <a:pt x="844753" y="540042"/>
                  </a:lnTo>
                  <a:lnTo>
                    <a:pt x="867676" y="539635"/>
                  </a:lnTo>
                  <a:lnTo>
                    <a:pt x="908545" y="536409"/>
                  </a:lnTo>
                  <a:lnTo>
                    <a:pt x="960018" y="524624"/>
                  </a:lnTo>
                  <a:lnTo>
                    <a:pt x="992492" y="510527"/>
                  </a:lnTo>
                  <a:lnTo>
                    <a:pt x="976426" y="440588"/>
                  </a:lnTo>
                  <a:lnTo>
                    <a:pt x="971511" y="419188"/>
                  </a:lnTo>
                  <a:lnTo>
                    <a:pt x="927354" y="433578"/>
                  </a:lnTo>
                  <a:lnTo>
                    <a:pt x="878801" y="440143"/>
                  </a:lnTo>
                  <a:lnTo>
                    <a:pt x="861174" y="440588"/>
                  </a:lnTo>
                  <a:lnTo>
                    <a:pt x="842454" y="439381"/>
                  </a:lnTo>
                  <a:lnTo>
                    <a:pt x="798791" y="421259"/>
                  </a:lnTo>
                  <a:lnTo>
                    <a:pt x="776554" y="384009"/>
                  </a:lnTo>
                  <a:lnTo>
                    <a:pt x="774509" y="367919"/>
                  </a:lnTo>
                  <a:lnTo>
                    <a:pt x="1018743" y="367919"/>
                  </a:lnTo>
                  <a:lnTo>
                    <a:pt x="1018743" y="305689"/>
                  </a:lnTo>
                  <a:close/>
                </a:path>
              </a:pathLst>
            </a:custGeom>
            <a:solidFill>
              <a:srgbClr val="FFFFFF"/>
            </a:solidFill>
          </p:spPr>
          <p:txBody>
            <a:bodyPr wrap="square" lIns="0" tIns="0" rIns="0" bIns="0" rtlCol="0"/>
            <a:lstStyle/>
            <a:p>
              <a:endParaRPr/>
            </a:p>
          </p:txBody>
        </p:sp>
        <p:sp>
          <p:nvSpPr>
            <p:cNvPr id="11" name="object 10">
              <a:extLst>
                <a:ext uri="{FF2B5EF4-FFF2-40B4-BE49-F238E27FC236}">
                  <a16:creationId xmlns:a16="http://schemas.microsoft.com/office/drawing/2014/main" id="{DF376598-4C67-76EF-D13C-560C1C756318}"/>
                </a:ext>
              </a:extLst>
            </p:cNvPr>
            <p:cNvSpPr/>
            <p:nvPr userDrawn="1"/>
          </p:nvSpPr>
          <p:spPr>
            <a:xfrm>
              <a:off x="779127" y="2349153"/>
              <a:ext cx="382905" cy="419734"/>
            </a:xfrm>
            <a:custGeom>
              <a:avLst/>
              <a:gdLst/>
              <a:ahLst/>
              <a:cxnLst/>
              <a:rect l="l" t="t" r="r" b="b"/>
              <a:pathLst>
                <a:path w="382905" h="419734">
                  <a:moveTo>
                    <a:pt x="195334" y="0"/>
                  </a:moveTo>
                  <a:lnTo>
                    <a:pt x="151049" y="3429"/>
                  </a:lnTo>
                  <a:lnTo>
                    <a:pt x="112181" y="13720"/>
                  </a:lnTo>
                  <a:lnTo>
                    <a:pt x="50679" y="54919"/>
                  </a:lnTo>
                  <a:lnTo>
                    <a:pt x="12676" y="121771"/>
                  </a:lnTo>
                  <a:lnTo>
                    <a:pt x="3169" y="164162"/>
                  </a:lnTo>
                  <a:lnTo>
                    <a:pt x="0" y="212527"/>
                  </a:lnTo>
                  <a:lnTo>
                    <a:pt x="3419" y="259418"/>
                  </a:lnTo>
                  <a:lnTo>
                    <a:pt x="13678" y="300606"/>
                  </a:lnTo>
                  <a:lnTo>
                    <a:pt x="30776" y="336088"/>
                  </a:lnTo>
                  <a:lnTo>
                    <a:pt x="54710" y="365863"/>
                  </a:lnTo>
                  <a:lnTo>
                    <a:pt x="84811" y="389420"/>
                  </a:lnTo>
                  <a:lnTo>
                    <a:pt x="120441" y="406249"/>
                  </a:lnTo>
                  <a:lnTo>
                    <a:pt x="161599" y="416348"/>
                  </a:lnTo>
                  <a:lnTo>
                    <a:pt x="208286" y="419714"/>
                  </a:lnTo>
                  <a:lnTo>
                    <a:pt x="231212" y="419309"/>
                  </a:lnTo>
                  <a:lnTo>
                    <a:pt x="272084" y="416079"/>
                  </a:lnTo>
                  <a:lnTo>
                    <a:pt x="323556" y="404304"/>
                  </a:lnTo>
                  <a:lnTo>
                    <a:pt x="356051" y="390208"/>
                  </a:lnTo>
                  <a:lnTo>
                    <a:pt x="339968" y="320262"/>
                  </a:lnTo>
                  <a:lnTo>
                    <a:pt x="224705" y="320262"/>
                  </a:lnTo>
                  <a:lnTo>
                    <a:pt x="205996" y="319053"/>
                  </a:lnTo>
                  <a:lnTo>
                    <a:pt x="162330" y="300933"/>
                  </a:lnTo>
                  <a:lnTo>
                    <a:pt x="140081" y="263681"/>
                  </a:lnTo>
                  <a:lnTo>
                    <a:pt x="138037" y="247594"/>
                  </a:lnTo>
                  <a:lnTo>
                    <a:pt x="382281" y="247594"/>
                  </a:lnTo>
                  <a:lnTo>
                    <a:pt x="382281" y="185366"/>
                  </a:lnTo>
                  <a:lnTo>
                    <a:pt x="380425" y="159586"/>
                  </a:lnTo>
                  <a:lnTo>
                    <a:pt x="140833" y="159586"/>
                  </a:lnTo>
                  <a:lnTo>
                    <a:pt x="143073" y="144048"/>
                  </a:lnTo>
                  <a:lnTo>
                    <a:pt x="168495" y="103925"/>
                  </a:lnTo>
                  <a:lnTo>
                    <a:pt x="200245" y="95169"/>
                  </a:lnTo>
                  <a:lnTo>
                    <a:pt x="364887" y="95169"/>
                  </a:lnTo>
                  <a:lnTo>
                    <a:pt x="354867" y="74269"/>
                  </a:lnTo>
                  <a:lnTo>
                    <a:pt x="333539" y="47768"/>
                  </a:lnTo>
                  <a:lnTo>
                    <a:pt x="306624" y="26866"/>
                  </a:lnTo>
                  <a:lnTo>
                    <a:pt x="274618" y="11939"/>
                  </a:lnTo>
                  <a:lnTo>
                    <a:pt x="237521" y="2984"/>
                  </a:lnTo>
                  <a:lnTo>
                    <a:pt x="195334" y="0"/>
                  </a:lnTo>
                  <a:close/>
                </a:path>
                <a:path w="382905" h="419734">
                  <a:moveTo>
                    <a:pt x="335047" y="298860"/>
                  </a:moveTo>
                  <a:lnTo>
                    <a:pt x="290912" y="313257"/>
                  </a:lnTo>
                  <a:lnTo>
                    <a:pt x="242337" y="319823"/>
                  </a:lnTo>
                  <a:lnTo>
                    <a:pt x="224705" y="320262"/>
                  </a:lnTo>
                  <a:lnTo>
                    <a:pt x="339968" y="320262"/>
                  </a:lnTo>
                  <a:lnTo>
                    <a:pt x="335047" y="298860"/>
                  </a:lnTo>
                  <a:close/>
                </a:path>
                <a:path w="382905" h="419734">
                  <a:moveTo>
                    <a:pt x="364887" y="95169"/>
                  </a:moveTo>
                  <a:lnTo>
                    <a:pt x="200245" y="95169"/>
                  </a:lnTo>
                  <a:lnTo>
                    <a:pt x="212680" y="96265"/>
                  </a:lnTo>
                  <a:lnTo>
                    <a:pt x="223783" y="99555"/>
                  </a:lnTo>
                  <a:lnTo>
                    <a:pt x="253829" y="133197"/>
                  </a:lnTo>
                  <a:lnTo>
                    <a:pt x="258232" y="159586"/>
                  </a:lnTo>
                  <a:lnTo>
                    <a:pt x="380425" y="159586"/>
                  </a:lnTo>
                  <a:lnTo>
                    <a:pt x="379236" y="143073"/>
                  </a:lnTo>
                  <a:lnTo>
                    <a:pt x="370098" y="106039"/>
                  </a:lnTo>
                  <a:lnTo>
                    <a:pt x="364887" y="95169"/>
                  </a:lnTo>
                  <a:close/>
                </a:path>
              </a:pathLst>
            </a:custGeom>
            <a:solidFill>
              <a:srgbClr val="FFFFFF"/>
            </a:solidFill>
          </p:spPr>
          <p:txBody>
            <a:bodyPr wrap="square" lIns="0" tIns="0" rIns="0" bIns="0" rtlCol="0"/>
            <a:lstStyle/>
            <a:p>
              <a:endParaRPr/>
            </a:p>
          </p:txBody>
        </p:sp>
      </p:grpSp>
      <p:sp>
        <p:nvSpPr>
          <p:cNvPr id="15" name="object 14">
            <a:extLst>
              <a:ext uri="{FF2B5EF4-FFF2-40B4-BE49-F238E27FC236}">
                <a16:creationId xmlns:a16="http://schemas.microsoft.com/office/drawing/2014/main" id="{871992BE-75A5-63D9-E884-02F0526918FA}"/>
              </a:ext>
            </a:extLst>
          </p:cNvPr>
          <p:cNvSpPr txBox="1"/>
          <p:nvPr userDrawn="1"/>
        </p:nvSpPr>
        <p:spPr>
          <a:xfrm>
            <a:off x="288073" y="5407758"/>
            <a:ext cx="11122878" cy="961161"/>
          </a:xfrm>
          <a:prstGeom prst="rect">
            <a:avLst/>
          </a:prstGeom>
        </p:spPr>
        <p:txBody>
          <a:bodyPr vert="horz" wrap="square" lIns="0" tIns="12065" rIns="0" bIns="0" rtlCol="0">
            <a:spAutoFit/>
          </a:bodyPr>
          <a:lstStyle/>
          <a:p>
            <a:pPr marL="12700">
              <a:lnSpc>
                <a:spcPct val="100000"/>
              </a:lnSpc>
              <a:spcBef>
                <a:spcPts val="95"/>
              </a:spcBef>
            </a:pPr>
            <a:r>
              <a:rPr lang="en-US" sz="1000" dirty="0">
                <a:solidFill>
                  <a:schemeClr val="tx1">
                    <a:lumMod val="65000"/>
                  </a:schemeClr>
                </a:solidFill>
                <a:latin typeface="Open Sans"/>
                <a:cs typeface="Open Sans"/>
              </a:rPr>
              <a:t>Disclaimer: This communication and any attachment to it is for internal distribution among personnel of Deloitte </a:t>
            </a:r>
            <a:r>
              <a:rPr lang="en-US" sz="1000" dirty="0" err="1">
                <a:solidFill>
                  <a:schemeClr val="tx1">
                    <a:lumMod val="65000"/>
                  </a:schemeClr>
                </a:solidFill>
                <a:latin typeface="Open Sans"/>
                <a:cs typeface="Open Sans"/>
              </a:rPr>
              <a:t>Touche</a:t>
            </a:r>
            <a:r>
              <a:rPr lang="en-US" sz="1000" dirty="0">
                <a:solidFill>
                  <a:schemeClr val="tx1">
                    <a:lumMod val="65000"/>
                  </a:schemeClr>
                </a:solidFill>
                <a:latin typeface="Open Sans"/>
                <a:cs typeface="Open Sans"/>
              </a:rPr>
              <a:t> Tohmatsu Limited (DTTL), its global network of member firms and their related entities (collectively, the "Deloitte organization"). It may contain confidential information and is intended solely for the use of the individual or entity to whom it is addressed. If you are not the intended recipient, please notify us immediately, do not use this communication in any way and then delete it and all copies of it on your system.</a:t>
            </a:r>
          </a:p>
          <a:p>
            <a:pPr marL="12700">
              <a:lnSpc>
                <a:spcPct val="100000"/>
              </a:lnSpc>
              <a:spcBef>
                <a:spcPts val="95"/>
              </a:spcBef>
            </a:pPr>
            <a:endParaRPr lang="en-US" sz="1000" dirty="0">
              <a:solidFill>
                <a:schemeClr val="tx1">
                  <a:lumMod val="65000"/>
                </a:schemeClr>
              </a:solidFill>
              <a:latin typeface="Open Sans"/>
              <a:cs typeface="Open Sans"/>
            </a:endParaRPr>
          </a:p>
          <a:p>
            <a:pPr marL="12700">
              <a:lnSpc>
                <a:spcPct val="100000"/>
              </a:lnSpc>
              <a:spcBef>
                <a:spcPts val="95"/>
              </a:spcBef>
            </a:pPr>
            <a:r>
              <a:rPr lang="en-US" sz="1000" dirty="0">
                <a:solidFill>
                  <a:schemeClr val="tx1">
                    <a:lumMod val="65000"/>
                  </a:schemeClr>
                </a:solidFill>
                <a:latin typeface="Open Sans"/>
                <a:cs typeface="Open Sans"/>
              </a:rPr>
              <a:t>None of DTTL, its member firms, related entities, employees or agents shall be responsible for any loss or damage whatsoever arising directly or indirectly in connection with any person relying on this communication. DTTL and each of its member firms, and their related entities, are legally separate and independent entities.</a:t>
            </a:r>
            <a:endParaRPr sz="1000" dirty="0">
              <a:solidFill>
                <a:schemeClr val="tx1">
                  <a:lumMod val="65000"/>
                </a:schemeClr>
              </a:solidFill>
              <a:latin typeface="Open Sans"/>
              <a:cs typeface="Open Sans"/>
            </a:endParaRPr>
          </a:p>
        </p:txBody>
      </p:sp>
      <p:sp>
        <p:nvSpPr>
          <p:cNvPr id="3" name="object 14">
            <a:extLst>
              <a:ext uri="{FF2B5EF4-FFF2-40B4-BE49-F238E27FC236}">
                <a16:creationId xmlns:a16="http://schemas.microsoft.com/office/drawing/2014/main" id="{33E72D3F-A370-8B0E-7CFE-0B459D148C6E}"/>
              </a:ext>
            </a:extLst>
          </p:cNvPr>
          <p:cNvSpPr txBox="1"/>
          <p:nvPr userDrawn="1"/>
        </p:nvSpPr>
        <p:spPr>
          <a:xfrm>
            <a:off x="288073" y="4251267"/>
            <a:ext cx="11122878" cy="750847"/>
          </a:xfrm>
          <a:prstGeom prst="rect">
            <a:avLst/>
          </a:prstGeom>
        </p:spPr>
        <p:txBody>
          <a:bodyPr vert="horz" wrap="square" lIns="0" tIns="12065" rIns="0" bIns="0" rtlCol="0">
            <a:spAutoFit/>
          </a:bodyPr>
          <a:lstStyle/>
          <a:p>
            <a:pPr marL="12700">
              <a:lnSpc>
                <a:spcPct val="100000"/>
              </a:lnSpc>
              <a:spcBef>
                <a:spcPts val="95"/>
              </a:spcBef>
            </a:pPr>
            <a:r>
              <a:rPr lang="en-US" sz="1200" b="1" i="0" dirty="0">
                <a:solidFill>
                  <a:srgbClr val="FF0000"/>
                </a:solidFill>
                <a:effectLst/>
                <a:latin typeface="Calibri" panose="020F0502020204030204" pitchFamily="34" charset="0"/>
              </a:rPr>
              <a:t>Disclaimer: Output quality is your responsibility and top priority. Outputs generated by Sidekick Research Assistant may contain information that is inaccurate, dated, incomplete, or not aligned to your specific needs. You are responsible for ensuring the accuracy, completeness, and relevance of any Output generated by Sidekick Research Assistant and how such Output is used internally. You must thoroughly review all content and source materials (via the links provided in the Output) for accuracy and edit such Output as necessary before sharing internally. Outputs generated by Sidekick Research Assistant must not be considered final deliverables. </a:t>
            </a:r>
            <a:endParaRPr lang="en-US" sz="700" dirty="0">
              <a:solidFill>
                <a:schemeClr val="tx1">
                  <a:lumMod val="65000"/>
                </a:schemeClr>
              </a:solidFill>
              <a:latin typeface="Open Sans"/>
              <a:cs typeface="Open Sans"/>
            </a:endParaRPr>
          </a:p>
        </p:txBody>
      </p:sp>
    </p:spTree>
    <p:extLst>
      <p:ext uri="{BB962C8B-B14F-4D97-AF65-F5344CB8AC3E}">
        <p14:creationId xmlns:p14="http://schemas.microsoft.com/office/powerpoint/2010/main" val="16180217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2 columns of text">
    <p:spTree>
      <p:nvGrpSpPr>
        <p:cNvPr id="1" name=""/>
        <p:cNvGrpSpPr/>
        <p:nvPr/>
      </p:nvGrpSpPr>
      <p:grpSpPr>
        <a:xfrm>
          <a:off x="0" y="0"/>
          <a:ext cx="0" cy="0"/>
          <a:chOff x="0" y="0"/>
          <a:chExt cx="0" cy="0"/>
        </a:xfrm>
      </p:grpSpPr>
      <p:pic>
        <p:nvPicPr>
          <p:cNvPr id="10" name="Picture 7" descr="Background pattern, surface chart&#10;&#10;Description automatically generated">
            <a:extLst>
              <a:ext uri="{FF2B5EF4-FFF2-40B4-BE49-F238E27FC236}">
                <a16:creationId xmlns:a16="http://schemas.microsoft.com/office/drawing/2014/main" id="{AB726A9C-954C-35F0-FBFA-5DED776895A6}"/>
              </a:ext>
            </a:extLst>
          </p:cNvPr>
          <p:cNvPicPr>
            <a:picLocks noChangeAspect="1"/>
          </p:cNvPicPr>
          <p:nvPr userDrawn="1"/>
        </p:nvPicPr>
        <p:blipFill>
          <a:blip r:embed="rId2"/>
          <a:stretch>
            <a:fillRect/>
          </a:stretch>
        </p:blipFill>
        <p:spPr>
          <a:xfrm>
            <a:off x="-16239" y="2996993"/>
            <a:ext cx="12224478" cy="4005704"/>
          </a:xfrm>
          <a:prstGeom prst="rect">
            <a:avLst/>
          </a:prstGeom>
        </p:spPr>
      </p:pic>
      <p:sp>
        <p:nvSpPr>
          <p:cNvPr id="8" name="Text Placeholder 8">
            <a:extLst>
              <a:ext uri="{FF2B5EF4-FFF2-40B4-BE49-F238E27FC236}">
                <a16:creationId xmlns:a16="http://schemas.microsoft.com/office/drawing/2014/main" id="{D58FF0B8-12F4-41CE-AD69-DD52D41C8BBD}"/>
              </a:ext>
            </a:extLst>
          </p:cNvPr>
          <p:cNvSpPr>
            <a:spLocks noGrp="1"/>
          </p:cNvSpPr>
          <p:nvPr>
            <p:ph type="body" sz="quarter" idx="13" hasCustomPrompt="1"/>
          </p:nvPr>
        </p:nvSpPr>
        <p:spPr>
          <a:xfrm>
            <a:off x="501650" y="651601"/>
            <a:ext cx="11188700" cy="334100"/>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565F50C2-3A2B-43F6-97B9-A4F3EF05E45A}"/>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6" name="Content Placeholder 5">
            <a:extLst>
              <a:ext uri="{FF2B5EF4-FFF2-40B4-BE49-F238E27FC236}">
                <a16:creationId xmlns:a16="http://schemas.microsoft.com/office/drawing/2014/main" id="{D79DECF7-9385-FB1B-E016-12BD72374CB8}"/>
              </a:ext>
            </a:extLst>
          </p:cNvPr>
          <p:cNvSpPr>
            <a:spLocks noGrp="1"/>
          </p:cNvSpPr>
          <p:nvPr>
            <p:ph sz="quarter" idx="23" hasCustomPrompt="1"/>
          </p:nvPr>
        </p:nvSpPr>
        <p:spPr>
          <a:xfrm>
            <a:off x="501650" y="1000125"/>
            <a:ext cx="3584576" cy="4695281"/>
          </a:xfrm>
        </p:spPr>
        <p:txBody>
          <a:bodyPr/>
          <a:lstStyle>
            <a:lvl2pPr>
              <a:defRPr sz="1600">
                <a:solidFill>
                  <a:srgbClr val="009A44"/>
                </a:solidFill>
              </a:defRPr>
            </a:lvl2pPr>
            <a:lvl3pPr>
              <a:defRPr sz="1200"/>
            </a:lvl3pPr>
            <a:lvl4pPr>
              <a:defRPr sz="1200"/>
            </a:lvl4pPr>
            <a:lvl5pPr>
              <a:defRPr sz="1200"/>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2" name="Content Placeholder 5">
            <a:extLst>
              <a:ext uri="{FF2B5EF4-FFF2-40B4-BE49-F238E27FC236}">
                <a16:creationId xmlns:a16="http://schemas.microsoft.com/office/drawing/2014/main" id="{CA9A200A-B694-8F6D-D06C-35BC3244FE4E}"/>
              </a:ext>
            </a:extLst>
          </p:cNvPr>
          <p:cNvSpPr>
            <a:spLocks noGrp="1"/>
          </p:cNvSpPr>
          <p:nvPr>
            <p:ph sz="quarter" idx="24" hasCustomPrompt="1"/>
          </p:nvPr>
        </p:nvSpPr>
        <p:spPr>
          <a:xfrm>
            <a:off x="4303712" y="1000126"/>
            <a:ext cx="3584576" cy="4695280"/>
          </a:xfrm>
        </p:spPr>
        <p:txBody>
          <a:bodyPr/>
          <a:lstStyle>
            <a:lvl2pPr>
              <a:defRPr sz="1600">
                <a:solidFill>
                  <a:srgbClr val="009A44"/>
                </a:solidFill>
              </a:defRPr>
            </a:lvl2pPr>
            <a:lvl3pPr>
              <a:defRPr sz="1200"/>
            </a:lvl3pPr>
            <a:lvl4pPr>
              <a:defRPr sz="1200"/>
            </a:lvl4pPr>
            <a:lvl5pPr>
              <a:defRPr sz="1200"/>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5">
            <a:extLst>
              <a:ext uri="{FF2B5EF4-FFF2-40B4-BE49-F238E27FC236}">
                <a16:creationId xmlns:a16="http://schemas.microsoft.com/office/drawing/2014/main" id="{335DFBC5-0676-D360-BB73-5DEDD5BFD8F2}"/>
              </a:ext>
            </a:extLst>
          </p:cNvPr>
          <p:cNvSpPr>
            <a:spLocks noGrp="1"/>
          </p:cNvSpPr>
          <p:nvPr>
            <p:ph sz="quarter" idx="25" hasCustomPrompt="1"/>
          </p:nvPr>
        </p:nvSpPr>
        <p:spPr>
          <a:xfrm>
            <a:off x="8105775" y="981076"/>
            <a:ext cx="3584577" cy="4714330"/>
          </a:xfrm>
        </p:spPr>
        <p:txBody>
          <a:bodyPr/>
          <a:lstStyle>
            <a:lvl2pPr>
              <a:defRPr sz="1600">
                <a:solidFill>
                  <a:srgbClr val="009A44"/>
                </a:solidFill>
              </a:defRPr>
            </a:lvl2pPr>
            <a:lvl3pPr>
              <a:defRPr sz="1200"/>
            </a:lvl3pPr>
            <a:lvl4pPr>
              <a:defRPr sz="1200"/>
            </a:lvl4pPr>
            <a:lvl5pPr>
              <a:defRPr sz="1200"/>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Box 2">
            <a:extLst>
              <a:ext uri="{FF2B5EF4-FFF2-40B4-BE49-F238E27FC236}">
                <a16:creationId xmlns:a16="http://schemas.microsoft.com/office/drawing/2014/main" id="{7392EDF3-1F1D-BCDC-6FDC-10D930F9D236}"/>
              </a:ext>
            </a:extLst>
          </p:cNvPr>
          <p:cNvSpPr txBox="1"/>
          <p:nvPr userDrawn="1"/>
        </p:nvSpPr>
        <p:spPr>
          <a:xfrm>
            <a:off x="9818297" y="189953"/>
            <a:ext cx="1872051" cy="276999"/>
          </a:xfrm>
          <a:prstGeom prst="rect">
            <a:avLst/>
          </a:prstGeom>
          <a:noFill/>
          <a:ln w="28575">
            <a:noFill/>
          </a:ln>
        </p:spPr>
        <p:txBody>
          <a:bodyPr wrap="none" lIns="0" tIns="0" rIns="0" bIns="0" rtlCol="0">
            <a:spAutoFit/>
          </a:bodyPr>
          <a:lstStyle/>
          <a:p>
            <a:pPr marL="0" indent="0">
              <a:spcBef>
                <a:spcPts val="600"/>
              </a:spcBef>
              <a:buSzPct val="100000"/>
              <a:buFont typeface="Arial"/>
              <a:buNone/>
            </a:pPr>
            <a:r>
              <a:rPr lang="en-US" b="1" dirty="0">
                <a:solidFill>
                  <a:srgbClr val="FF0000"/>
                </a:solidFill>
              </a:rPr>
              <a:t>AI Generated Draft</a:t>
            </a:r>
          </a:p>
        </p:txBody>
      </p:sp>
    </p:spTree>
    <p:extLst>
      <p:ext uri="{BB962C8B-B14F-4D97-AF65-F5344CB8AC3E}">
        <p14:creationId xmlns:p14="http://schemas.microsoft.com/office/powerpoint/2010/main" val="3873827637"/>
      </p:ext>
    </p:extLst>
  </p:cSld>
  <p:clrMapOvr>
    <a:masterClrMapping/>
  </p:clrMapOvr>
  <p:transition>
    <p:fade/>
  </p:transition>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5_2 columns of text">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D58FF0B8-12F4-41CE-AD69-DD52D41C8BBD}"/>
              </a:ext>
            </a:extLst>
          </p:cNvPr>
          <p:cNvSpPr>
            <a:spLocks noGrp="1"/>
          </p:cNvSpPr>
          <p:nvPr>
            <p:ph type="body" sz="quarter" idx="13" hasCustomPrompt="1"/>
          </p:nvPr>
        </p:nvSpPr>
        <p:spPr>
          <a:xfrm>
            <a:off x="501650" y="651601"/>
            <a:ext cx="11188700" cy="334100"/>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565F50C2-3A2B-43F6-97B9-A4F3EF05E45A}"/>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6" name="Rectangle 5">
            <a:extLst>
              <a:ext uri="{FF2B5EF4-FFF2-40B4-BE49-F238E27FC236}">
                <a16:creationId xmlns:a16="http://schemas.microsoft.com/office/drawing/2014/main" id="{0AF6A207-B939-0FD0-476C-DF020288B423}"/>
              </a:ext>
            </a:extLst>
          </p:cNvPr>
          <p:cNvSpPr/>
          <p:nvPr userDrawn="1"/>
        </p:nvSpPr>
        <p:spPr>
          <a:xfrm>
            <a:off x="914400" y="2369043"/>
            <a:ext cx="4410688" cy="3657600"/>
          </a:xfrm>
          <a:prstGeom prst="rect">
            <a:avLst/>
          </a:prstGeom>
          <a:solidFill>
            <a:schemeClr val="bg1">
              <a:lumMod val="95000"/>
            </a:schemeClr>
          </a:solidFill>
        </p:spPr>
        <p:txBody>
          <a:bodyPr wrap="square" lIns="274320" tIns="182880" rIns="274320" bIns="18288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800" b="0" i="0" u="none" strike="noStrike" kern="1200" cap="none" spc="0" normalizeH="0" baseline="0" noProof="0" dirty="0">
              <a:ln>
                <a:noFill/>
              </a:ln>
              <a:solidFill>
                <a:schemeClr val="accent1"/>
              </a:solidFill>
              <a:effectLst/>
              <a:uLnTx/>
              <a:uFillTx/>
              <a:ea typeface="+mn-ea"/>
              <a:cs typeface="Calibri" panose="020F0502020204030204" pitchFamily="34" charset="0"/>
            </a:endParaRPr>
          </a:p>
        </p:txBody>
      </p:sp>
      <p:sp>
        <p:nvSpPr>
          <p:cNvPr id="7" name="Rectangle 6">
            <a:extLst>
              <a:ext uri="{FF2B5EF4-FFF2-40B4-BE49-F238E27FC236}">
                <a16:creationId xmlns:a16="http://schemas.microsoft.com/office/drawing/2014/main" id="{F9B28177-C76F-A317-28D9-D0460C901B76}"/>
              </a:ext>
            </a:extLst>
          </p:cNvPr>
          <p:cNvSpPr/>
          <p:nvPr userDrawn="1"/>
        </p:nvSpPr>
        <p:spPr>
          <a:xfrm>
            <a:off x="914849" y="1938156"/>
            <a:ext cx="4410239" cy="507831"/>
          </a:xfrm>
          <a:prstGeom prst="rect">
            <a:avLst/>
          </a:prstGeom>
          <a:solidFill>
            <a:schemeClr val="accent1"/>
          </a:solidFill>
        </p:spPr>
        <p:txBody>
          <a:bodyPr wrap="square" lIns="182880" tIns="91440" rIns="182880" bIns="9144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2100" b="0" i="0" u="none" strike="noStrike" kern="1200" cap="none" spc="0" normalizeH="0" baseline="0" noProof="0" dirty="0">
              <a:ln>
                <a:noFill/>
              </a:ln>
              <a:solidFill>
                <a:srgbClr val="FFFFFF"/>
              </a:solidFill>
              <a:effectLst/>
              <a:uLnTx/>
              <a:uFillTx/>
              <a:ea typeface="+mn-ea"/>
              <a:cs typeface="Calibri" panose="020F0502020204030204" pitchFamily="34" charset="0"/>
            </a:endParaRPr>
          </a:p>
        </p:txBody>
      </p:sp>
      <p:sp>
        <p:nvSpPr>
          <p:cNvPr id="10" name="Rectangle 9">
            <a:extLst>
              <a:ext uri="{FF2B5EF4-FFF2-40B4-BE49-F238E27FC236}">
                <a16:creationId xmlns:a16="http://schemas.microsoft.com/office/drawing/2014/main" id="{18CD2CD6-73C9-CAC1-AF09-B068EC72CCA0}"/>
              </a:ext>
            </a:extLst>
          </p:cNvPr>
          <p:cNvSpPr/>
          <p:nvPr userDrawn="1"/>
        </p:nvSpPr>
        <p:spPr>
          <a:xfrm>
            <a:off x="7095512" y="2369043"/>
            <a:ext cx="4410688" cy="3657600"/>
          </a:xfrm>
          <a:prstGeom prst="rect">
            <a:avLst/>
          </a:prstGeom>
          <a:solidFill>
            <a:schemeClr val="bg1">
              <a:lumMod val="95000"/>
            </a:schemeClr>
          </a:solidFill>
        </p:spPr>
        <p:txBody>
          <a:bodyPr wrap="square" lIns="274320" tIns="182880" rIns="274320" bIns="18288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chemeClr val="accent1"/>
              </a:solidFill>
              <a:effectLst/>
              <a:uLnTx/>
              <a:uFillTx/>
              <a:ea typeface="+mn-ea"/>
              <a:cs typeface="Calibri" panose="020F0502020204030204" pitchFamily="34" charset="0"/>
            </a:endParaRPr>
          </a:p>
        </p:txBody>
      </p:sp>
      <p:sp>
        <p:nvSpPr>
          <p:cNvPr id="11" name="Rectangle 10">
            <a:extLst>
              <a:ext uri="{FF2B5EF4-FFF2-40B4-BE49-F238E27FC236}">
                <a16:creationId xmlns:a16="http://schemas.microsoft.com/office/drawing/2014/main" id="{E6252500-CC43-00A0-57B7-7B9304EC84BC}"/>
              </a:ext>
            </a:extLst>
          </p:cNvPr>
          <p:cNvSpPr/>
          <p:nvPr userDrawn="1"/>
        </p:nvSpPr>
        <p:spPr>
          <a:xfrm>
            <a:off x="7095961" y="1938156"/>
            <a:ext cx="4410238" cy="507831"/>
          </a:xfrm>
          <a:prstGeom prst="rect">
            <a:avLst/>
          </a:prstGeom>
          <a:solidFill>
            <a:schemeClr val="accent1"/>
          </a:solidFill>
        </p:spPr>
        <p:txBody>
          <a:bodyPr wrap="square" lIns="182880" tIns="91440" rIns="182880" bIns="9144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2100" b="0" i="0" u="none" strike="noStrike" kern="1200" cap="none" spc="0" normalizeH="0" baseline="0" noProof="0" dirty="0">
              <a:ln>
                <a:noFill/>
              </a:ln>
              <a:solidFill>
                <a:srgbClr val="FFFFFF"/>
              </a:solidFill>
              <a:effectLst/>
              <a:uLnTx/>
              <a:uFillTx/>
              <a:ea typeface="+mn-ea"/>
              <a:cs typeface="Calibri" panose="020F0502020204030204" pitchFamily="34" charset="0"/>
            </a:endParaRPr>
          </a:p>
        </p:txBody>
      </p:sp>
      <p:grpSp>
        <p:nvGrpSpPr>
          <p:cNvPr id="13" name="Group 12">
            <a:extLst>
              <a:ext uri="{FF2B5EF4-FFF2-40B4-BE49-F238E27FC236}">
                <a16:creationId xmlns:a16="http://schemas.microsoft.com/office/drawing/2014/main" id="{83026BEA-77CE-9AE0-4004-240B4DB9CBD9}"/>
              </a:ext>
            </a:extLst>
          </p:cNvPr>
          <p:cNvGrpSpPr/>
          <p:nvPr userDrawn="1"/>
        </p:nvGrpSpPr>
        <p:grpSpPr>
          <a:xfrm>
            <a:off x="5601588" y="3625749"/>
            <a:ext cx="988824" cy="572094"/>
            <a:chOff x="5614266" y="4057353"/>
            <a:chExt cx="988824" cy="572094"/>
          </a:xfrm>
          <a:solidFill>
            <a:schemeClr val="accent1"/>
          </a:solidFill>
        </p:grpSpPr>
        <p:sp>
          <p:nvSpPr>
            <p:cNvPr id="14" name="Half Frame 13">
              <a:extLst>
                <a:ext uri="{FF2B5EF4-FFF2-40B4-BE49-F238E27FC236}">
                  <a16:creationId xmlns:a16="http://schemas.microsoft.com/office/drawing/2014/main" id="{F1FAAB30-F4F0-015F-1D0B-7435E1618353}"/>
                </a:ext>
              </a:extLst>
            </p:cNvPr>
            <p:cNvSpPr/>
            <p:nvPr/>
          </p:nvSpPr>
          <p:spPr>
            <a:xfrm rot="8100000">
              <a:off x="6030996" y="4057353"/>
              <a:ext cx="572094" cy="572094"/>
            </a:xfrm>
            <a:prstGeom prst="halfFrame">
              <a:avLst>
                <a:gd name="adj1" fmla="val 17591"/>
                <a:gd name="adj2" fmla="val 1638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769C0BD4-50E3-7320-A0C3-AC2DD1395F89}"/>
                </a:ext>
              </a:extLst>
            </p:cNvPr>
            <p:cNvSpPr/>
            <p:nvPr/>
          </p:nvSpPr>
          <p:spPr>
            <a:xfrm>
              <a:off x="5614266" y="4292642"/>
              <a:ext cx="979933" cy="1067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sp>
        <p:nvSpPr>
          <p:cNvPr id="2" name="Content Placeholder 6">
            <a:extLst>
              <a:ext uri="{FF2B5EF4-FFF2-40B4-BE49-F238E27FC236}">
                <a16:creationId xmlns:a16="http://schemas.microsoft.com/office/drawing/2014/main" id="{6385CFD4-D60C-DFEB-CC99-4384C5CB9E60}"/>
              </a:ext>
            </a:extLst>
          </p:cNvPr>
          <p:cNvSpPr>
            <a:spLocks noGrp="1"/>
          </p:cNvSpPr>
          <p:nvPr>
            <p:ph sz="quarter" idx="22"/>
          </p:nvPr>
        </p:nvSpPr>
        <p:spPr>
          <a:xfrm>
            <a:off x="1014405" y="1632622"/>
            <a:ext cx="4200568" cy="3910255"/>
          </a:xfrm>
        </p:spPr>
        <p:txBody>
          <a:bodyPr/>
          <a:lstStyle>
            <a:lvl1pPr marL="0" indent="0">
              <a:buNone/>
              <a:defRPr/>
            </a:lvl1pPr>
            <a:lvl2pPr algn="ctr">
              <a:defRPr sz="2200">
                <a:solidFill>
                  <a:schemeClr val="bg1"/>
                </a:solidFill>
              </a:defRPr>
            </a:lvl2pPr>
            <a:lvl3pPr>
              <a:defRPr sz="1200"/>
            </a:lvl3pPr>
            <a:lvl4pPr>
              <a:defRPr sz="1200"/>
            </a:lvl4pPr>
            <a:lvl5pPr>
              <a:defRPr sz="1200"/>
            </a:lvl5pPr>
          </a:lstStyle>
          <a:p>
            <a:pPr lvl="1"/>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7">
            <a:extLst>
              <a:ext uri="{FF2B5EF4-FFF2-40B4-BE49-F238E27FC236}">
                <a16:creationId xmlns:a16="http://schemas.microsoft.com/office/drawing/2014/main" id="{C213F6CA-4C65-80CB-44BE-59A71DBB22DC}"/>
              </a:ext>
            </a:extLst>
          </p:cNvPr>
          <p:cNvSpPr>
            <a:spLocks noGrp="1"/>
          </p:cNvSpPr>
          <p:nvPr>
            <p:ph sz="quarter" idx="23" hasCustomPrompt="1"/>
          </p:nvPr>
        </p:nvSpPr>
        <p:spPr>
          <a:xfrm>
            <a:off x="7200572" y="1632621"/>
            <a:ext cx="4200568" cy="3910255"/>
          </a:xfrm>
        </p:spPr>
        <p:txBody>
          <a:bodyPr/>
          <a:lstStyle>
            <a:lvl1pPr marL="0" indent="0">
              <a:buNone/>
              <a:defRPr/>
            </a:lvl1pPr>
            <a:lvl2pPr algn="ctr">
              <a:defRPr sz="2200">
                <a:solidFill>
                  <a:schemeClr val="bg1"/>
                </a:solidFill>
              </a:defRPr>
            </a:lvl2pPr>
            <a:lvl3pPr>
              <a:defRPr sz="1200"/>
            </a:lvl3pPr>
            <a:lvl4pPr>
              <a:defRPr sz="1200"/>
            </a:lvl4pPr>
            <a:lvl5pPr>
              <a:defRPr sz="1200"/>
            </a:lvl5pPr>
          </a:lstStyle>
          <a:p>
            <a:pPr lvl="1"/>
            <a:r>
              <a:rPr lang="en-US" dirty="0"/>
              <a: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4">
            <a:extLst>
              <a:ext uri="{FF2B5EF4-FFF2-40B4-BE49-F238E27FC236}">
                <a16:creationId xmlns:a16="http://schemas.microsoft.com/office/drawing/2014/main" id="{68A7D3D0-E58A-26E4-FEEF-6504D5C3BEE2}"/>
              </a:ext>
            </a:extLst>
          </p:cNvPr>
          <p:cNvSpPr txBox="1"/>
          <p:nvPr userDrawn="1"/>
        </p:nvSpPr>
        <p:spPr>
          <a:xfrm>
            <a:off x="9818297" y="172023"/>
            <a:ext cx="1872051" cy="276999"/>
          </a:xfrm>
          <a:prstGeom prst="rect">
            <a:avLst/>
          </a:prstGeom>
          <a:noFill/>
          <a:ln w="28575">
            <a:noFill/>
          </a:ln>
        </p:spPr>
        <p:txBody>
          <a:bodyPr wrap="none" lIns="0" tIns="0" rIns="0" bIns="0" rtlCol="0">
            <a:spAutoFit/>
          </a:bodyPr>
          <a:lstStyle/>
          <a:p>
            <a:pPr marL="0" indent="0">
              <a:spcBef>
                <a:spcPts val="600"/>
              </a:spcBef>
              <a:buSzPct val="100000"/>
              <a:buFont typeface="Arial"/>
              <a:buNone/>
            </a:pPr>
            <a:r>
              <a:rPr lang="en-US" b="1" dirty="0">
                <a:solidFill>
                  <a:srgbClr val="FF0000"/>
                </a:solidFill>
              </a:rPr>
              <a:t>AI Generated Draft</a:t>
            </a:r>
          </a:p>
        </p:txBody>
      </p:sp>
    </p:spTree>
    <p:extLst>
      <p:ext uri="{BB962C8B-B14F-4D97-AF65-F5344CB8AC3E}">
        <p14:creationId xmlns:p14="http://schemas.microsoft.com/office/powerpoint/2010/main" val="832580465"/>
      </p:ext>
    </p:extLst>
  </p:cSld>
  <p:clrMapOvr>
    <a:masterClrMapping/>
  </p:clrMapOvr>
  <p:transition>
    <p:fade/>
  </p:transition>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2 columns of text">
    <p:spTree>
      <p:nvGrpSpPr>
        <p:cNvPr id="1" name=""/>
        <p:cNvGrpSpPr/>
        <p:nvPr/>
      </p:nvGrpSpPr>
      <p:grpSpPr>
        <a:xfrm>
          <a:off x="0" y="0"/>
          <a:ext cx="0" cy="0"/>
          <a:chOff x="0" y="0"/>
          <a:chExt cx="0" cy="0"/>
        </a:xfrm>
      </p:grpSpPr>
      <p:pic>
        <p:nvPicPr>
          <p:cNvPr id="2" name="Picture 7" descr="Background pattern, surface chart&#10;&#10;Description automatically generated">
            <a:extLst>
              <a:ext uri="{FF2B5EF4-FFF2-40B4-BE49-F238E27FC236}">
                <a16:creationId xmlns:a16="http://schemas.microsoft.com/office/drawing/2014/main" id="{AFB1B994-0060-2AEA-D109-CB9A2DCA3FA3}"/>
              </a:ext>
            </a:extLst>
          </p:cNvPr>
          <p:cNvPicPr>
            <a:picLocks noChangeAspect="1"/>
          </p:cNvPicPr>
          <p:nvPr userDrawn="1"/>
        </p:nvPicPr>
        <p:blipFill>
          <a:blip r:embed="rId2"/>
          <a:stretch>
            <a:fillRect/>
          </a:stretch>
        </p:blipFill>
        <p:spPr>
          <a:xfrm>
            <a:off x="-16239" y="2996993"/>
            <a:ext cx="12224478" cy="4005704"/>
          </a:xfrm>
          <a:prstGeom prst="rect">
            <a:avLst/>
          </a:prstGeom>
        </p:spPr>
      </p:pic>
      <p:sp>
        <p:nvSpPr>
          <p:cNvPr id="8" name="Text Placeholder 8">
            <a:extLst>
              <a:ext uri="{FF2B5EF4-FFF2-40B4-BE49-F238E27FC236}">
                <a16:creationId xmlns:a16="http://schemas.microsoft.com/office/drawing/2014/main" id="{D58FF0B8-12F4-41CE-AD69-DD52D41C8BBD}"/>
              </a:ext>
            </a:extLst>
          </p:cNvPr>
          <p:cNvSpPr>
            <a:spLocks noGrp="1"/>
          </p:cNvSpPr>
          <p:nvPr>
            <p:ph type="body" sz="quarter" idx="13" hasCustomPrompt="1"/>
          </p:nvPr>
        </p:nvSpPr>
        <p:spPr>
          <a:xfrm>
            <a:off x="501650" y="651601"/>
            <a:ext cx="11188700" cy="334100"/>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565F50C2-3A2B-43F6-97B9-A4F3EF05E45A}"/>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cxnSp>
        <p:nvCxnSpPr>
          <p:cNvPr id="13" name="Straight Connector 12">
            <a:extLst>
              <a:ext uri="{FF2B5EF4-FFF2-40B4-BE49-F238E27FC236}">
                <a16:creationId xmlns:a16="http://schemas.microsoft.com/office/drawing/2014/main" id="{4C064791-E9AE-A612-2858-F22A6696A90E}"/>
              </a:ext>
            </a:extLst>
          </p:cNvPr>
          <p:cNvCxnSpPr/>
          <p:nvPr userDrawn="1"/>
        </p:nvCxnSpPr>
        <p:spPr>
          <a:xfrm>
            <a:off x="551688" y="1504406"/>
            <a:ext cx="2964396" cy="0"/>
          </a:xfrm>
          <a:prstGeom prst="line">
            <a:avLst/>
          </a:prstGeom>
          <a:ln w="3810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714EB44-DBD4-745A-6FD4-CB2C57934044}"/>
              </a:ext>
            </a:extLst>
          </p:cNvPr>
          <p:cNvCxnSpPr/>
          <p:nvPr userDrawn="1"/>
        </p:nvCxnSpPr>
        <p:spPr>
          <a:xfrm>
            <a:off x="551688" y="5425114"/>
            <a:ext cx="2964396" cy="0"/>
          </a:xfrm>
          <a:prstGeom prst="line">
            <a:avLst/>
          </a:prstGeom>
          <a:ln w="3810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9EB9D68E-F186-57B7-F062-40F824DF8737}"/>
              </a:ext>
            </a:extLst>
          </p:cNvPr>
          <p:cNvCxnSpPr/>
          <p:nvPr userDrawn="1"/>
        </p:nvCxnSpPr>
        <p:spPr>
          <a:xfrm>
            <a:off x="4613802" y="1495694"/>
            <a:ext cx="2964396" cy="0"/>
          </a:xfrm>
          <a:prstGeom prst="line">
            <a:avLst/>
          </a:prstGeom>
          <a:ln w="3810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FC10153-E48E-DA34-3B59-1F3A922E803B}"/>
              </a:ext>
            </a:extLst>
          </p:cNvPr>
          <p:cNvCxnSpPr/>
          <p:nvPr userDrawn="1"/>
        </p:nvCxnSpPr>
        <p:spPr>
          <a:xfrm>
            <a:off x="4613802" y="5402741"/>
            <a:ext cx="2964396" cy="0"/>
          </a:xfrm>
          <a:prstGeom prst="line">
            <a:avLst/>
          </a:prstGeom>
          <a:ln w="3810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554BDB6-22B6-62D2-BFF3-0C0674540A3F}"/>
              </a:ext>
            </a:extLst>
          </p:cNvPr>
          <p:cNvCxnSpPr>
            <a:cxnSpLocks/>
          </p:cNvCxnSpPr>
          <p:nvPr userDrawn="1"/>
        </p:nvCxnSpPr>
        <p:spPr>
          <a:xfrm>
            <a:off x="8641043" y="1504406"/>
            <a:ext cx="2964396" cy="0"/>
          </a:xfrm>
          <a:prstGeom prst="line">
            <a:avLst/>
          </a:prstGeom>
          <a:ln w="3810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BB62F3A-12F1-E207-809C-67D32D8BE112}"/>
              </a:ext>
            </a:extLst>
          </p:cNvPr>
          <p:cNvCxnSpPr>
            <a:cxnSpLocks/>
          </p:cNvCxnSpPr>
          <p:nvPr userDrawn="1"/>
        </p:nvCxnSpPr>
        <p:spPr>
          <a:xfrm>
            <a:off x="8641043" y="5402741"/>
            <a:ext cx="2964396" cy="0"/>
          </a:xfrm>
          <a:prstGeom prst="line">
            <a:avLst/>
          </a:prstGeom>
          <a:ln w="38100">
            <a:solidFill>
              <a:srgbClr val="92D050"/>
            </a:solidFill>
          </a:ln>
        </p:spPr>
        <p:style>
          <a:lnRef idx="1">
            <a:schemeClr val="accent1"/>
          </a:lnRef>
          <a:fillRef idx="0">
            <a:schemeClr val="accent1"/>
          </a:fillRef>
          <a:effectRef idx="0">
            <a:schemeClr val="accent1"/>
          </a:effectRef>
          <a:fontRef idx="minor">
            <a:schemeClr val="tx1"/>
          </a:fontRef>
        </p:style>
      </p:cxnSp>
      <p:sp>
        <p:nvSpPr>
          <p:cNvPr id="21" name="Content Placeholder 7">
            <a:extLst>
              <a:ext uri="{FF2B5EF4-FFF2-40B4-BE49-F238E27FC236}">
                <a16:creationId xmlns:a16="http://schemas.microsoft.com/office/drawing/2014/main" id="{745B4E19-C71D-A74E-0201-F423ACEC51D8}"/>
              </a:ext>
            </a:extLst>
          </p:cNvPr>
          <p:cNvSpPr>
            <a:spLocks noGrp="1"/>
          </p:cNvSpPr>
          <p:nvPr>
            <p:ph sz="quarter" idx="14"/>
          </p:nvPr>
        </p:nvSpPr>
        <p:spPr>
          <a:xfrm>
            <a:off x="551688" y="1247498"/>
            <a:ext cx="3049305" cy="2171172"/>
          </a:xfrm>
        </p:spPr>
        <p:txBody>
          <a:bodyPr/>
          <a:lstStyle>
            <a:lvl1pPr marL="0" indent="0">
              <a:buNone/>
              <a:defRPr/>
            </a:lvl1pPr>
            <a:lvl2pPr>
              <a:defRPr sz="1600">
                <a:solidFill>
                  <a:schemeClr val="tx1"/>
                </a:solidFill>
              </a:defRPr>
            </a:lvl2pPr>
            <a:lvl3pPr>
              <a:defRPr sz="1200"/>
            </a:lvl3pPr>
            <a:lvl4pPr>
              <a:defRPr sz="1200"/>
            </a:lvl4pPr>
            <a:lvl5pPr>
              <a:defRPr sz="1200"/>
            </a:lvl5pPr>
          </a:lstStyle>
          <a:p>
            <a:pPr lvl="1"/>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6">
            <a:extLst>
              <a:ext uri="{FF2B5EF4-FFF2-40B4-BE49-F238E27FC236}">
                <a16:creationId xmlns:a16="http://schemas.microsoft.com/office/drawing/2014/main" id="{B002F121-46ED-C4D9-D135-A19A3FBAE376}"/>
              </a:ext>
            </a:extLst>
          </p:cNvPr>
          <p:cNvSpPr>
            <a:spLocks noGrp="1"/>
          </p:cNvSpPr>
          <p:nvPr>
            <p:ph sz="quarter" idx="21"/>
          </p:nvPr>
        </p:nvSpPr>
        <p:spPr>
          <a:xfrm>
            <a:off x="4534208" y="1257832"/>
            <a:ext cx="3049305" cy="2171168"/>
          </a:xfrm>
        </p:spPr>
        <p:txBody>
          <a:bodyPr/>
          <a:lstStyle>
            <a:lvl1pPr marL="0" indent="0">
              <a:buNone/>
              <a:defRPr/>
            </a:lvl1pPr>
            <a:lvl2pPr>
              <a:defRPr sz="1600">
                <a:solidFill>
                  <a:schemeClr val="tx1"/>
                </a:solidFill>
              </a:defRPr>
            </a:lvl2pPr>
            <a:lvl3pPr>
              <a:defRPr sz="1200"/>
            </a:lvl3pPr>
            <a:lvl4pPr>
              <a:defRPr sz="1200"/>
            </a:lvl4pPr>
            <a:lvl5pPr>
              <a:defRPr sz="1200"/>
            </a:lvl5pPr>
          </a:lstStyle>
          <a:p>
            <a:pPr lvl="1"/>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Content Placeholder 116">
            <a:extLst>
              <a:ext uri="{FF2B5EF4-FFF2-40B4-BE49-F238E27FC236}">
                <a16:creationId xmlns:a16="http://schemas.microsoft.com/office/drawing/2014/main" id="{CCB7D896-E15B-FE5B-A196-D38659DCD841}"/>
              </a:ext>
            </a:extLst>
          </p:cNvPr>
          <p:cNvSpPr>
            <a:spLocks noGrp="1"/>
          </p:cNvSpPr>
          <p:nvPr>
            <p:ph sz="quarter" idx="22"/>
          </p:nvPr>
        </p:nvSpPr>
        <p:spPr>
          <a:xfrm>
            <a:off x="8641043" y="1257832"/>
            <a:ext cx="3049305" cy="2171168"/>
          </a:xfrm>
        </p:spPr>
        <p:txBody>
          <a:bodyPr/>
          <a:lstStyle>
            <a:lvl1pPr marL="0" indent="0">
              <a:buNone/>
              <a:defRPr/>
            </a:lvl1pPr>
            <a:lvl2pPr>
              <a:defRPr sz="1600">
                <a:solidFill>
                  <a:schemeClr val="tx1"/>
                </a:solidFill>
              </a:defRPr>
            </a:lvl2pPr>
            <a:lvl3pPr>
              <a:defRPr sz="1200"/>
            </a:lvl3pPr>
            <a:lvl4pPr>
              <a:defRPr sz="1200"/>
            </a:lvl4pPr>
            <a:lvl5pPr>
              <a:defRPr sz="1200"/>
            </a:lvl5pPr>
          </a:lstStyle>
          <a:p>
            <a:pPr lvl="1"/>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a:extLst>
              <a:ext uri="{FF2B5EF4-FFF2-40B4-BE49-F238E27FC236}">
                <a16:creationId xmlns:a16="http://schemas.microsoft.com/office/drawing/2014/main" id="{4BA88715-C21D-2381-ECEA-37172F7431B8}"/>
              </a:ext>
            </a:extLst>
          </p:cNvPr>
          <p:cNvSpPr txBox="1"/>
          <p:nvPr userDrawn="1"/>
        </p:nvSpPr>
        <p:spPr>
          <a:xfrm>
            <a:off x="9818297" y="172023"/>
            <a:ext cx="1872051" cy="276999"/>
          </a:xfrm>
          <a:prstGeom prst="rect">
            <a:avLst/>
          </a:prstGeom>
          <a:noFill/>
          <a:ln w="28575">
            <a:noFill/>
          </a:ln>
        </p:spPr>
        <p:txBody>
          <a:bodyPr wrap="none" lIns="0" tIns="0" rIns="0" bIns="0" rtlCol="0">
            <a:spAutoFit/>
          </a:bodyPr>
          <a:lstStyle/>
          <a:p>
            <a:pPr marL="0" indent="0">
              <a:spcBef>
                <a:spcPts val="600"/>
              </a:spcBef>
              <a:buSzPct val="100000"/>
              <a:buFont typeface="Arial"/>
              <a:buNone/>
            </a:pPr>
            <a:r>
              <a:rPr lang="en-US" b="1" dirty="0">
                <a:solidFill>
                  <a:srgbClr val="FF0000"/>
                </a:solidFill>
              </a:rPr>
              <a:t>AI Generated Draft</a:t>
            </a:r>
          </a:p>
        </p:txBody>
      </p:sp>
    </p:spTree>
    <p:extLst>
      <p:ext uri="{BB962C8B-B14F-4D97-AF65-F5344CB8AC3E}">
        <p14:creationId xmlns:p14="http://schemas.microsoft.com/office/powerpoint/2010/main" val="1301227153"/>
      </p:ext>
    </p:extLst>
  </p:cSld>
  <p:clrMapOvr>
    <a:masterClrMapping/>
  </p:clrMapOvr>
  <p:transition>
    <p:fade/>
  </p:transition>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4 column icon">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358775" y="651600"/>
            <a:ext cx="11434704" cy="334099"/>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358775" y="317500"/>
            <a:ext cx="11434704"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7" name="Freeform 55">
            <a:extLst>
              <a:ext uri="{FF2B5EF4-FFF2-40B4-BE49-F238E27FC236}">
                <a16:creationId xmlns:a16="http://schemas.microsoft.com/office/drawing/2014/main" id="{DF1CADA7-C43F-6ABE-5AE4-4433733B72DA}"/>
              </a:ext>
            </a:extLst>
          </p:cNvPr>
          <p:cNvSpPr>
            <a:spLocks/>
          </p:cNvSpPr>
          <p:nvPr userDrawn="1"/>
        </p:nvSpPr>
        <p:spPr bwMode="auto">
          <a:xfrm>
            <a:off x="0" y="1511741"/>
            <a:ext cx="12191999" cy="915142"/>
          </a:xfrm>
          <a:custGeom>
            <a:avLst/>
            <a:gdLst>
              <a:gd name="T0" fmla="*/ 78 w 12526"/>
              <a:gd name="T1" fmla="*/ 1088 h 1212"/>
              <a:gd name="T2" fmla="*/ 223 w 12526"/>
              <a:gd name="T3" fmla="*/ 1065 h 1212"/>
              <a:gd name="T4" fmla="*/ 357 w 12526"/>
              <a:gd name="T5" fmla="*/ 1019 h 1212"/>
              <a:gd name="T6" fmla="*/ 481 w 12526"/>
              <a:gd name="T7" fmla="*/ 957 h 1212"/>
              <a:gd name="T8" fmla="*/ 601 w 12526"/>
              <a:gd name="T9" fmla="*/ 881 h 1212"/>
              <a:gd name="T10" fmla="*/ 903 w 12526"/>
              <a:gd name="T11" fmla="*/ 647 h 1212"/>
              <a:gd name="T12" fmla="*/ 1138 w 12526"/>
              <a:gd name="T13" fmla="*/ 469 h 1212"/>
              <a:gd name="T14" fmla="*/ 1291 w 12526"/>
              <a:gd name="T15" fmla="*/ 369 h 1212"/>
              <a:gd name="T16" fmla="*/ 1460 w 12526"/>
              <a:gd name="T17" fmla="*/ 275 h 1212"/>
              <a:gd name="T18" fmla="*/ 1649 w 12526"/>
              <a:gd name="T19" fmla="*/ 190 h 1212"/>
              <a:gd name="T20" fmla="*/ 1863 w 12526"/>
              <a:gd name="T21" fmla="*/ 116 h 1212"/>
              <a:gd name="T22" fmla="*/ 2105 w 12526"/>
              <a:gd name="T23" fmla="*/ 58 h 1212"/>
              <a:gd name="T24" fmla="*/ 2378 w 12526"/>
              <a:gd name="T25" fmla="*/ 19 h 1212"/>
              <a:gd name="T26" fmla="*/ 2684 w 12526"/>
              <a:gd name="T27" fmla="*/ 0 h 1212"/>
              <a:gd name="T28" fmla="*/ 2930 w 12526"/>
              <a:gd name="T29" fmla="*/ 3 h 1212"/>
              <a:gd name="T30" fmla="*/ 3227 w 12526"/>
              <a:gd name="T31" fmla="*/ 29 h 1212"/>
              <a:gd name="T32" fmla="*/ 3488 w 12526"/>
              <a:gd name="T33" fmla="*/ 79 h 1212"/>
              <a:gd name="T34" fmla="*/ 3720 w 12526"/>
              <a:gd name="T35" fmla="*/ 148 h 1212"/>
              <a:gd name="T36" fmla="*/ 3928 w 12526"/>
              <a:gd name="T37" fmla="*/ 233 h 1212"/>
              <a:gd name="T38" fmla="*/ 4117 w 12526"/>
              <a:gd name="T39" fmla="*/ 331 h 1212"/>
              <a:gd name="T40" fmla="*/ 4293 w 12526"/>
              <a:gd name="T41" fmla="*/ 437 h 1212"/>
              <a:gd name="T42" fmla="*/ 4623 w 12526"/>
              <a:gd name="T43" fmla="*/ 663 h 1212"/>
              <a:gd name="T44" fmla="*/ 4872 w 12526"/>
              <a:gd name="T45" fmla="*/ 828 h 1212"/>
              <a:gd name="T46" fmla="*/ 5050 w 12526"/>
              <a:gd name="T47" fmla="*/ 932 h 1212"/>
              <a:gd name="T48" fmla="*/ 5243 w 12526"/>
              <a:gd name="T49" fmla="*/ 1023 h 1212"/>
              <a:gd name="T50" fmla="*/ 5455 w 12526"/>
              <a:gd name="T51" fmla="*/ 1100 h 1212"/>
              <a:gd name="T52" fmla="*/ 5692 w 12526"/>
              <a:gd name="T53" fmla="*/ 1161 h 1212"/>
              <a:gd name="T54" fmla="*/ 5960 w 12526"/>
              <a:gd name="T55" fmla="*/ 1200 h 1212"/>
              <a:gd name="T56" fmla="*/ 6264 w 12526"/>
              <a:gd name="T57" fmla="*/ 1212 h 1212"/>
              <a:gd name="T58" fmla="*/ 6494 w 12526"/>
              <a:gd name="T59" fmla="*/ 1205 h 1212"/>
              <a:gd name="T60" fmla="*/ 6771 w 12526"/>
              <a:gd name="T61" fmla="*/ 1172 h 1212"/>
              <a:gd name="T62" fmla="*/ 7018 w 12526"/>
              <a:gd name="T63" fmla="*/ 1117 h 1212"/>
              <a:gd name="T64" fmla="*/ 7238 w 12526"/>
              <a:gd name="T65" fmla="*/ 1044 h 1212"/>
              <a:gd name="T66" fmla="*/ 7437 w 12526"/>
              <a:gd name="T67" fmla="*/ 955 h 1212"/>
              <a:gd name="T68" fmla="*/ 7620 w 12526"/>
              <a:gd name="T69" fmla="*/ 855 h 1212"/>
              <a:gd name="T70" fmla="*/ 7834 w 12526"/>
              <a:gd name="T71" fmla="*/ 719 h 1212"/>
              <a:gd name="T72" fmla="*/ 8166 w 12526"/>
              <a:gd name="T73" fmla="*/ 493 h 1212"/>
              <a:gd name="T74" fmla="*/ 8382 w 12526"/>
              <a:gd name="T75" fmla="*/ 357 h 1212"/>
              <a:gd name="T76" fmla="*/ 8567 w 12526"/>
              <a:gd name="T77" fmla="*/ 257 h 1212"/>
              <a:gd name="T78" fmla="*/ 8768 w 12526"/>
              <a:gd name="T79" fmla="*/ 168 h 1212"/>
              <a:gd name="T80" fmla="*/ 8992 w 12526"/>
              <a:gd name="T81" fmla="*/ 95 h 1212"/>
              <a:gd name="T82" fmla="*/ 9242 w 12526"/>
              <a:gd name="T83" fmla="*/ 40 h 1212"/>
              <a:gd name="T84" fmla="*/ 9523 w 12526"/>
              <a:gd name="T85" fmla="*/ 7 h 1212"/>
              <a:gd name="T86" fmla="*/ 9758 w 12526"/>
              <a:gd name="T87" fmla="*/ 0 h 1212"/>
              <a:gd name="T88" fmla="*/ 10069 w 12526"/>
              <a:gd name="T89" fmla="*/ 11 h 1212"/>
              <a:gd name="T90" fmla="*/ 10346 w 12526"/>
              <a:gd name="T91" fmla="*/ 46 h 1212"/>
              <a:gd name="T92" fmla="*/ 10595 w 12526"/>
              <a:gd name="T93" fmla="*/ 100 h 1212"/>
              <a:gd name="T94" fmla="*/ 10816 w 12526"/>
              <a:gd name="T95" fmla="*/ 170 h 1212"/>
              <a:gd name="T96" fmla="*/ 11013 w 12526"/>
              <a:gd name="T97" fmla="*/ 253 h 1212"/>
              <a:gd name="T98" fmla="*/ 11190 w 12526"/>
              <a:gd name="T99" fmla="*/ 345 h 1212"/>
              <a:gd name="T100" fmla="*/ 11350 w 12526"/>
              <a:gd name="T101" fmla="*/ 444 h 1212"/>
              <a:gd name="T102" fmla="*/ 11630 w 12526"/>
              <a:gd name="T103" fmla="*/ 647 h 1212"/>
              <a:gd name="T104" fmla="*/ 11939 w 12526"/>
              <a:gd name="T105" fmla="*/ 881 h 1212"/>
              <a:gd name="T106" fmla="*/ 12060 w 12526"/>
              <a:gd name="T107" fmla="*/ 957 h 1212"/>
              <a:gd name="T108" fmla="*/ 12183 w 12526"/>
              <a:gd name="T109" fmla="*/ 1019 h 1212"/>
              <a:gd name="T110" fmla="*/ 12314 w 12526"/>
              <a:gd name="T111" fmla="*/ 1065 h 1212"/>
              <a:gd name="T112" fmla="*/ 12453 w 12526"/>
              <a:gd name="T113" fmla="*/ 1088 h 1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526" h="1212">
                <a:moveTo>
                  <a:pt x="0" y="1091"/>
                </a:moveTo>
                <a:lnTo>
                  <a:pt x="0" y="1091"/>
                </a:lnTo>
                <a:lnTo>
                  <a:pt x="40" y="1091"/>
                </a:lnTo>
                <a:lnTo>
                  <a:pt x="78" y="1088"/>
                </a:lnTo>
                <a:lnTo>
                  <a:pt x="116" y="1085"/>
                </a:lnTo>
                <a:lnTo>
                  <a:pt x="152" y="1079"/>
                </a:lnTo>
                <a:lnTo>
                  <a:pt x="188" y="1072"/>
                </a:lnTo>
                <a:lnTo>
                  <a:pt x="223" y="1065"/>
                </a:lnTo>
                <a:lnTo>
                  <a:pt x="258" y="1055"/>
                </a:lnTo>
                <a:lnTo>
                  <a:pt x="291" y="1045"/>
                </a:lnTo>
                <a:lnTo>
                  <a:pt x="324" y="1033"/>
                </a:lnTo>
                <a:lnTo>
                  <a:pt x="357" y="1019"/>
                </a:lnTo>
                <a:lnTo>
                  <a:pt x="388" y="1006"/>
                </a:lnTo>
                <a:lnTo>
                  <a:pt x="420" y="991"/>
                </a:lnTo>
                <a:lnTo>
                  <a:pt x="450" y="975"/>
                </a:lnTo>
                <a:lnTo>
                  <a:pt x="481" y="957"/>
                </a:lnTo>
                <a:lnTo>
                  <a:pt x="512" y="939"/>
                </a:lnTo>
                <a:lnTo>
                  <a:pt x="542" y="921"/>
                </a:lnTo>
                <a:lnTo>
                  <a:pt x="572" y="901"/>
                </a:lnTo>
                <a:lnTo>
                  <a:pt x="601" y="881"/>
                </a:lnTo>
                <a:lnTo>
                  <a:pt x="661" y="838"/>
                </a:lnTo>
                <a:lnTo>
                  <a:pt x="720" y="793"/>
                </a:lnTo>
                <a:lnTo>
                  <a:pt x="780" y="746"/>
                </a:lnTo>
                <a:lnTo>
                  <a:pt x="903" y="647"/>
                </a:lnTo>
                <a:lnTo>
                  <a:pt x="968" y="597"/>
                </a:lnTo>
                <a:lnTo>
                  <a:pt x="1034" y="545"/>
                </a:lnTo>
                <a:lnTo>
                  <a:pt x="1102" y="494"/>
                </a:lnTo>
                <a:lnTo>
                  <a:pt x="1138" y="469"/>
                </a:lnTo>
                <a:lnTo>
                  <a:pt x="1175" y="444"/>
                </a:lnTo>
                <a:lnTo>
                  <a:pt x="1213" y="418"/>
                </a:lnTo>
                <a:lnTo>
                  <a:pt x="1251" y="393"/>
                </a:lnTo>
                <a:lnTo>
                  <a:pt x="1291" y="369"/>
                </a:lnTo>
                <a:lnTo>
                  <a:pt x="1331" y="345"/>
                </a:lnTo>
                <a:lnTo>
                  <a:pt x="1373" y="321"/>
                </a:lnTo>
                <a:lnTo>
                  <a:pt x="1415" y="298"/>
                </a:lnTo>
                <a:lnTo>
                  <a:pt x="1460" y="275"/>
                </a:lnTo>
                <a:lnTo>
                  <a:pt x="1505" y="253"/>
                </a:lnTo>
                <a:lnTo>
                  <a:pt x="1552" y="231"/>
                </a:lnTo>
                <a:lnTo>
                  <a:pt x="1600" y="210"/>
                </a:lnTo>
                <a:lnTo>
                  <a:pt x="1649" y="190"/>
                </a:lnTo>
                <a:lnTo>
                  <a:pt x="1701" y="170"/>
                </a:lnTo>
                <a:lnTo>
                  <a:pt x="1753" y="152"/>
                </a:lnTo>
                <a:lnTo>
                  <a:pt x="1807" y="134"/>
                </a:lnTo>
                <a:lnTo>
                  <a:pt x="1863" y="116"/>
                </a:lnTo>
                <a:lnTo>
                  <a:pt x="1921" y="100"/>
                </a:lnTo>
                <a:lnTo>
                  <a:pt x="1980" y="85"/>
                </a:lnTo>
                <a:lnTo>
                  <a:pt x="2042" y="70"/>
                </a:lnTo>
                <a:lnTo>
                  <a:pt x="2105" y="58"/>
                </a:lnTo>
                <a:lnTo>
                  <a:pt x="2169" y="46"/>
                </a:lnTo>
                <a:lnTo>
                  <a:pt x="2237" y="36"/>
                </a:lnTo>
                <a:lnTo>
                  <a:pt x="2306" y="26"/>
                </a:lnTo>
                <a:lnTo>
                  <a:pt x="2378" y="19"/>
                </a:lnTo>
                <a:lnTo>
                  <a:pt x="2451" y="11"/>
                </a:lnTo>
                <a:lnTo>
                  <a:pt x="2526" y="6"/>
                </a:lnTo>
                <a:lnTo>
                  <a:pt x="2604" y="3"/>
                </a:lnTo>
                <a:lnTo>
                  <a:pt x="2684" y="0"/>
                </a:lnTo>
                <a:lnTo>
                  <a:pt x="2768" y="0"/>
                </a:lnTo>
                <a:lnTo>
                  <a:pt x="2768" y="0"/>
                </a:lnTo>
                <a:lnTo>
                  <a:pt x="2850" y="0"/>
                </a:lnTo>
                <a:lnTo>
                  <a:pt x="2930" y="3"/>
                </a:lnTo>
                <a:lnTo>
                  <a:pt x="3008" y="7"/>
                </a:lnTo>
                <a:lnTo>
                  <a:pt x="3083" y="12"/>
                </a:lnTo>
                <a:lnTo>
                  <a:pt x="3156" y="21"/>
                </a:lnTo>
                <a:lnTo>
                  <a:pt x="3227" y="29"/>
                </a:lnTo>
                <a:lnTo>
                  <a:pt x="3294" y="40"/>
                </a:lnTo>
                <a:lnTo>
                  <a:pt x="3361" y="51"/>
                </a:lnTo>
                <a:lnTo>
                  <a:pt x="3426" y="64"/>
                </a:lnTo>
                <a:lnTo>
                  <a:pt x="3488" y="79"/>
                </a:lnTo>
                <a:lnTo>
                  <a:pt x="3548" y="95"/>
                </a:lnTo>
                <a:lnTo>
                  <a:pt x="3607" y="112"/>
                </a:lnTo>
                <a:lnTo>
                  <a:pt x="3665" y="129"/>
                </a:lnTo>
                <a:lnTo>
                  <a:pt x="3720" y="148"/>
                </a:lnTo>
                <a:lnTo>
                  <a:pt x="3775" y="168"/>
                </a:lnTo>
                <a:lnTo>
                  <a:pt x="3827" y="189"/>
                </a:lnTo>
                <a:lnTo>
                  <a:pt x="3878" y="211"/>
                </a:lnTo>
                <a:lnTo>
                  <a:pt x="3928" y="233"/>
                </a:lnTo>
                <a:lnTo>
                  <a:pt x="3977" y="257"/>
                </a:lnTo>
                <a:lnTo>
                  <a:pt x="4025" y="280"/>
                </a:lnTo>
                <a:lnTo>
                  <a:pt x="4072" y="306"/>
                </a:lnTo>
                <a:lnTo>
                  <a:pt x="4117" y="331"/>
                </a:lnTo>
                <a:lnTo>
                  <a:pt x="4162" y="357"/>
                </a:lnTo>
                <a:lnTo>
                  <a:pt x="4206" y="384"/>
                </a:lnTo>
                <a:lnTo>
                  <a:pt x="4250" y="410"/>
                </a:lnTo>
                <a:lnTo>
                  <a:pt x="4293" y="437"/>
                </a:lnTo>
                <a:lnTo>
                  <a:pt x="4377" y="493"/>
                </a:lnTo>
                <a:lnTo>
                  <a:pt x="4459" y="549"/>
                </a:lnTo>
                <a:lnTo>
                  <a:pt x="4541" y="606"/>
                </a:lnTo>
                <a:lnTo>
                  <a:pt x="4623" y="663"/>
                </a:lnTo>
                <a:lnTo>
                  <a:pt x="4705" y="719"/>
                </a:lnTo>
                <a:lnTo>
                  <a:pt x="4788" y="775"/>
                </a:lnTo>
                <a:lnTo>
                  <a:pt x="4830" y="802"/>
                </a:lnTo>
                <a:lnTo>
                  <a:pt x="4872" y="828"/>
                </a:lnTo>
                <a:lnTo>
                  <a:pt x="4916" y="855"/>
                </a:lnTo>
                <a:lnTo>
                  <a:pt x="4960" y="881"/>
                </a:lnTo>
                <a:lnTo>
                  <a:pt x="5005" y="906"/>
                </a:lnTo>
                <a:lnTo>
                  <a:pt x="5050" y="932"/>
                </a:lnTo>
                <a:lnTo>
                  <a:pt x="5096" y="955"/>
                </a:lnTo>
                <a:lnTo>
                  <a:pt x="5144" y="979"/>
                </a:lnTo>
                <a:lnTo>
                  <a:pt x="5192" y="1001"/>
                </a:lnTo>
                <a:lnTo>
                  <a:pt x="5243" y="1023"/>
                </a:lnTo>
                <a:lnTo>
                  <a:pt x="5293" y="1044"/>
                </a:lnTo>
                <a:lnTo>
                  <a:pt x="5346" y="1064"/>
                </a:lnTo>
                <a:lnTo>
                  <a:pt x="5400" y="1083"/>
                </a:lnTo>
                <a:lnTo>
                  <a:pt x="5455" y="1100"/>
                </a:lnTo>
                <a:lnTo>
                  <a:pt x="5511" y="1117"/>
                </a:lnTo>
                <a:lnTo>
                  <a:pt x="5569" y="1133"/>
                </a:lnTo>
                <a:lnTo>
                  <a:pt x="5631" y="1148"/>
                </a:lnTo>
                <a:lnTo>
                  <a:pt x="5692" y="1161"/>
                </a:lnTo>
                <a:lnTo>
                  <a:pt x="5756" y="1172"/>
                </a:lnTo>
                <a:lnTo>
                  <a:pt x="5822" y="1183"/>
                </a:lnTo>
                <a:lnTo>
                  <a:pt x="5890" y="1191"/>
                </a:lnTo>
                <a:lnTo>
                  <a:pt x="5960" y="1200"/>
                </a:lnTo>
                <a:lnTo>
                  <a:pt x="6032" y="1205"/>
                </a:lnTo>
                <a:lnTo>
                  <a:pt x="6107" y="1209"/>
                </a:lnTo>
                <a:lnTo>
                  <a:pt x="6183" y="1212"/>
                </a:lnTo>
                <a:lnTo>
                  <a:pt x="6264" y="1212"/>
                </a:lnTo>
                <a:lnTo>
                  <a:pt x="6264" y="1212"/>
                </a:lnTo>
                <a:lnTo>
                  <a:pt x="6343" y="1212"/>
                </a:lnTo>
                <a:lnTo>
                  <a:pt x="6419" y="1209"/>
                </a:lnTo>
                <a:lnTo>
                  <a:pt x="6494" y="1205"/>
                </a:lnTo>
                <a:lnTo>
                  <a:pt x="6567" y="1200"/>
                </a:lnTo>
                <a:lnTo>
                  <a:pt x="6637" y="1191"/>
                </a:lnTo>
                <a:lnTo>
                  <a:pt x="6705" y="1183"/>
                </a:lnTo>
                <a:lnTo>
                  <a:pt x="6771" y="1172"/>
                </a:lnTo>
                <a:lnTo>
                  <a:pt x="6835" y="1161"/>
                </a:lnTo>
                <a:lnTo>
                  <a:pt x="6898" y="1148"/>
                </a:lnTo>
                <a:lnTo>
                  <a:pt x="6959" y="1133"/>
                </a:lnTo>
                <a:lnTo>
                  <a:pt x="7018" y="1117"/>
                </a:lnTo>
                <a:lnTo>
                  <a:pt x="7075" y="1100"/>
                </a:lnTo>
                <a:lnTo>
                  <a:pt x="7130" y="1083"/>
                </a:lnTo>
                <a:lnTo>
                  <a:pt x="7185" y="1064"/>
                </a:lnTo>
                <a:lnTo>
                  <a:pt x="7238" y="1044"/>
                </a:lnTo>
                <a:lnTo>
                  <a:pt x="7289" y="1023"/>
                </a:lnTo>
                <a:lnTo>
                  <a:pt x="7340" y="1001"/>
                </a:lnTo>
                <a:lnTo>
                  <a:pt x="7388" y="979"/>
                </a:lnTo>
                <a:lnTo>
                  <a:pt x="7437" y="955"/>
                </a:lnTo>
                <a:lnTo>
                  <a:pt x="7484" y="932"/>
                </a:lnTo>
                <a:lnTo>
                  <a:pt x="7531" y="906"/>
                </a:lnTo>
                <a:lnTo>
                  <a:pt x="7576" y="881"/>
                </a:lnTo>
                <a:lnTo>
                  <a:pt x="7620" y="855"/>
                </a:lnTo>
                <a:lnTo>
                  <a:pt x="7664" y="828"/>
                </a:lnTo>
                <a:lnTo>
                  <a:pt x="7708" y="802"/>
                </a:lnTo>
                <a:lnTo>
                  <a:pt x="7750" y="775"/>
                </a:lnTo>
                <a:lnTo>
                  <a:pt x="7834" y="719"/>
                </a:lnTo>
                <a:lnTo>
                  <a:pt x="7917" y="663"/>
                </a:lnTo>
                <a:lnTo>
                  <a:pt x="8000" y="606"/>
                </a:lnTo>
                <a:lnTo>
                  <a:pt x="8083" y="549"/>
                </a:lnTo>
                <a:lnTo>
                  <a:pt x="8166" y="493"/>
                </a:lnTo>
                <a:lnTo>
                  <a:pt x="8251" y="437"/>
                </a:lnTo>
                <a:lnTo>
                  <a:pt x="8294" y="410"/>
                </a:lnTo>
                <a:lnTo>
                  <a:pt x="8337" y="384"/>
                </a:lnTo>
                <a:lnTo>
                  <a:pt x="8382" y="357"/>
                </a:lnTo>
                <a:lnTo>
                  <a:pt x="8427" y="331"/>
                </a:lnTo>
                <a:lnTo>
                  <a:pt x="8472" y="306"/>
                </a:lnTo>
                <a:lnTo>
                  <a:pt x="8519" y="280"/>
                </a:lnTo>
                <a:lnTo>
                  <a:pt x="8567" y="257"/>
                </a:lnTo>
                <a:lnTo>
                  <a:pt x="8615" y="233"/>
                </a:lnTo>
                <a:lnTo>
                  <a:pt x="8665" y="211"/>
                </a:lnTo>
                <a:lnTo>
                  <a:pt x="8717" y="189"/>
                </a:lnTo>
                <a:lnTo>
                  <a:pt x="8768" y="168"/>
                </a:lnTo>
                <a:lnTo>
                  <a:pt x="8822" y="148"/>
                </a:lnTo>
                <a:lnTo>
                  <a:pt x="8877" y="129"/>
                </a:lnTo>
                <a:lnTo>
                  <a:pt x="8934" y="112"/>
                </a:lnTo>
                <a:lnTo>
                  <a:pt x="8992" y="95"/>
                </a:lnTo>
                <a:lnTo>
                  <a:pt x="9052" y="79"/>
                </a:lnTo>
                <a:lnTo>
                  <a:pt x="9113" y="64"/>
                </a:lnTo>
                <a:lnTo>
                  <a:pt x="9177" y="51"/>
                </a:lnTo>
                <a:lnTo>
                  <a:pt x="9242" y="40"/>
                </a:lnTo>
                <a:lnTo>
                  <a:pt x="9309" y="29"/>
                </a:lnTo>
                <a:lnTo>
                  <a:pt x="9378" y="21"/>
                </a:lnTo>
                <a:lnTo>
                  <a:pt x="9450" y="12"/>
                </a:lnTo>
                <a:lnTo>
                  <a:pt x="9523" y="7"/>
                </a:lnTo>
                <a:lnTo>
                  <a:pt x="9599" y="3"/>
                </a:lnTo>
                <a:lnTo>
                  <a:pt x="9677" y="0"/>
                </a:lnTo>
                <a:lnTo>
                  <a:pt x="9758" y="0"/>
                </a:lnTo>
                <a:lnTo>
                  <a:pt x="9758" y="0"/>
                </a:lnTo>
                <a:lnTo>
                  <a:pt x="9839" y="0"/>
                </a:lnTo>
                <a:lnTo>
                  <a:pt x="9918" y="3"/>
                </a:lnTo>
                <a:lnTo>
                  <a:pt x="9994" y="6"/>
                </a:lnTo>
                <a:lnTo>
                  <a:pt x="10069" y="11"/>
                </a:lnTo>
                <a:lnTo>
                  <a:pt x="10142" y="19"/>
                </a:lnTo>
                <a:lnTo>
                  <a:pt x="10211" y="26"/>
                </a:lnTo>
                <a:lnTo>
                  <a:pt x="10280" y="36"/>
                </a:lnTo>
                <a:lnTo>
                  <a:pt x="10346" y="46"/>
                </a:lnTo>
                <a:lnTo>
                  <a:pt x="10411" y="58"/>
                </a:lnTo>
                <a:lnTo>
                  <a:pt x="10473" y="70"/>
                </a:lnTo>
                <a:lnTo>
                  <a:pt x="10535" y="85"/>
                </a:lnTo>
                <a:lnTo>
                  <a:pt x="10595" y="100"/>
                </a:lnTo>
                <a:lnTo>
                  <a:pt x="10651" y="116"/>
                </a:lnTo>
                <a:lnTo>
                  <a:pt x="10708" y="134"/>
                </a:lnTo>
                <a:lnTo>
                  <a:pt x="10762" y="152"/>
                </a:lnTo>
                <a:lnTo>
                  <a:pt x="10816" y="170"/>
                </a:lnTo>
                <a:lnTo>
                  <a:pt x="10866" y="190"/>
                </a:lnTo>
                <a:lnTo>
                  <a:pt x="10917" y="210"/>
                </a:lnTo>
                <a:lnTo>
                  <a:pt x="10965" y="231"/>
                </a:lnTo>
                <a:lnTo>
                  <a:pt x="11013" y="253"/>
                </a:lnTo>
                <a:lnTo>
                  <a:pt x="11059" y="275"/>
                </a:lnTo>
                <a:lnTo>
                  <a:pt x="11103" y="298"/>
                </a:lnTo>
                <a:lnTo>
                  <a:pt x="11148" y="321"/>
                </a:lnTo>
                <a:lnTo>
                  <a:pt x="11190" y="345"/>
                </a:lnTo>
                <a:lnTo>
                  <a:pt x="11232" y="369"/>
                </a:lnTo>
                <a:lnTo>
                  <a:pt x="11272" y="393"/>
                </a:lnTo>
                <a:lnTo>
                  <a:pt x="11311" y="418"/>
                </a:lnTo>
                <a:lnTo>
                  <a:pt x="11350" y="444"/>
                </a:lnTo>
                <a:lnTo>
                  <a:pt x="11425" y="494"/>
                </a:lnTo>
                <a:lnTo>
                  <a:pt x="11495" y="545"/>
                </a:lnTo>
                <a:lnTo>
                  <a:pt x="11564" y="597"/>
                </a:lnTo>
                <a:lnTo>
                  <a:pt x="11630" y="647"/>
                </a:lnTo>
                <a:lnTo>
                  <a:pt x="11756" y="746"/>
                </a:lnTo>
                <a:lnTo>
                  <a:pt x="11819" y="793"/>
                </a:lnTo>
                <a:lnTo>
                  <a:pt x="11879" y="838"/>
                </a:lnTo>
                <a:lnTo>
                  <a:pt x="11939" y="881"/>
                </a:lnTo>
                <a:lnTo>
                  <a:pt x="11969" y="901"/>
                </a:lnTo>
                <a:lnTo>
                  <a:pt x="11999" y="921"/>
                </a:lnTo>
                <a:lnTo>
                  <a:pt x="12029" y="939"/>
                </a:lnTo>
                <a:lnTo>
                  <a:pt x="12060" y="957"/>
                </a:lnTo>
                <a:lnTo>
                  <a:pt x="12090" y="975"/>
                </a:lnTo>
                <a:lnTo>
                  <a:pt x="12121" y="991"/>
                </a:lnTo>
                <a:lnTo>
                  <a:pt x="12151" y="1006"/>
                </a:lnTo>
                <a:lnTo>
                  <a:pt x="12183" y="1019"/>
                </a:lnTo>
                <a:lnTo>
                  <a:pt x="12215" y="1033"/>
                </a:lnTo>
                <a:lnTo>
                  <a:pt x="12247" y="1045"/>
                </a:lnTo>
                <a:lnTo>
                  <a:pt x="12280" y="1055"/>
                </a:lnTo>
                <a:lnTo>
                  <a:pt x="12314" y="1065"/>
                </a:lnTo>
                <a:lnTo>
                  <a:pt x="12347" y="1072"/>
                </a:lnTo>
                <a:lnTo>
                  <a:pt x="12381" y="1079"/>
                </a:lnTo>
                <a:lnTo>
                  <a:pt x="12417" y="1085"/>
                </a:lnTo>
                <a:lnTo>
                  <a:pt x="12453" y="1088"/>
                </a:lnTo>
                <a:lnTo>
                  <a:pt x="12488" y="1091"/>
                </a:lnTo>
                <a:lnTo>
                  <a:pt x="12526" y="1091"/>
                </a:lnTo>
              </a:path>
            </a:pathLst>
          </a:custGeom>
          <a:noFill/>
          <a:ln w="38100" cmpd="sng">
            <a:solidFill>
              <a:schemeClr val="accent1"/>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 name="Oval 10">
            <a:extLst>
              <a:ext uri="{FF2B5EF4-FFF2-40B4-BE49-F238E27FC236}">
                <a16:creationId xmlns:a16="http://schemas.microsoft.com/office/drawing/2014/main" id="{21E850A6-82B5-428A-8FB0-803088F9CBE5}"/>
              </a:ext>
            </a:extLst>
          </p:cNvPr>
          <p:cNvSpPr/>
          <p:nvPr userDrawn="1"/>
        </p:nvSpPr>
        <p:spPr bwMode="gray">
          <a:xfrm>
            <a:off x="5715000" y="1781226"/>
            <a:ext cx="1094282" cy="1094282"/>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a:p>
            <a:pPr algn="ctr">
              <a:lnSpc>
                <a:spcPct val="106000"/>
              </a:lnSpc>
              <a:buFont typeface="Wingdings 2" pitchFamily="18" charset="2"/>
              <a:buNone/>
            </a:pPr>
            <a:endParaRPr lang="en-US" sz="1600" b="1" dirty="0">
              <a:solidFill>
                <a:schemeClr val="bg1"/>
              </a:solidFill>
            </a:endParaRPr>
          </a:p>
          <a:p>
            <a:pPr algn="l">
              <a:lnSpc>
                <a:spcPct val="106000"/>
              </a:lnSpc>
              <a:buFont typeface="Wingdings 2" pitchFamily="18" charset="2"/>
              <a:buNone/>
            </a:pPr>
            <a:r>
              <a:rPr lang="en-US" sz="1600" b="1" dirty="0">
                <a:solidFill>
                  <a:schemeClr val="tx1"/>
                </a:solidFill>
              </a:rPr>
              <a:t>   </a:t>
            </a:r>
            <a:r>
              <a:rPr lang="en-US" sz="4000" b="1" dirty="0">
                <a:solidFill>
                  <a:schemeClr val="tx1"/>
                </a:solidFill>
              </a:rPr>
              <a:t>2</a:t>
            </a:r>
            <a:endParaRPr lang="en-US" sz="3600" b="1" dirty="0">
              <a:solidFill>
                <a:schemeClr val="tx1"/>
              </a:solidFill>
            </a:endParaRPr>
          </a:p>
          <a:p>
            <a:pPr algn="ctr">
              <a:lnSpc>
                <a:spcPct val="106000"/>
              </a:lnSpc>
              <a:buFont typeface="Wingdings 2" pitchFamily="18" charset="2"/>
              <a:buNone/>
            </a:pPr>
            <a:endParaRPr lang="en-US" sz="1600" b="1" dirty="0">
              <a:solidFill>
                <a:schemeClr val="bg1"/>
              </a:solidFill>
            </a:endParaRPr>
          </a:p>
        </p:txBody>
      </p:sp>
      <p:sp>
        <p:nvSpPr>
          <p:cNvPr id="19" name="Freeform 128">
            <a:extLst>
              <a:ext uri="{FF2B5EF4-FFF2-40B4-BE49-F238E27FC236}">
                <a16:creationId xmlns:a16="http://schemas.microsoft.com/office/drawing/2014/main" id="{E1F55DC0-4E72-3E02-E03C-1B6E7FB4F721}"/>
              </a:ext>
            </a:extLst>
          </p:cNvPr>
          <p:cNvSpPr>
            <a:spLocks noEditPoints="1"/>
          </p:cNvSpPr>
          <p:nvPr/>
        </p:nvSpPr>
        <p:spPr bwMode="auto">
          <a:xfrm rot="10800000">
            <a:off x="5752150" y="1960366"/>
            <a:ext cx="988438" cy="988437"/>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ysClr val="windowText" lastClr="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ea typeface="ヒラギノ角ゴ ProN W3" charset="0"/>
              <a:sym typeface="Gotham Book" charset="0"/>
            </a:endParaRPr>
          </a:p>
        </p:txBody>
      </p:sp>
      <p:sp>
        <p:nvSpPr>
          <p:cNvPr id="21" name="Oval 20">
            <a:extLst>
              <a:ext uri="{FF2B5EF4-FFF2-40B4-BE49-F238E27FC236}">
                <a16:creationId xmlns:a16="http://schemas.microsoft.com/office/drawing/2014/main" id="{C3474A56-CFBC-F511-E7E6-E171332D0F4E}"/>
              </a:ext>
            </a:extLst>
          </p:cNvPr>
          <p:cNvSpPr/>
          <p:nvPr userDrawn="1"/>
        </p:nvSpPr>
        <p:spPr bwMode="gray">
          <a:xfrm>
            <a:off x="2088630" y="1071774"/>
            <a:ext cx="1094282" cy="1094282"/>
          </a:xfrm>
          <a:prstGeom prst="ellipse">
            <a:avLst/>
          </a:prstGeom>
          <a:solidFill>
            <a:schemeClr val="bg1"/>
          </a:solidFill>
          <a:ln w="19050" algn="ctr">
            <a:noFill/>
            <a:miter lim="800000"/>
            <a:headEnd/>
            <a:tailEnd/>
          </a:ln>
        </p:spPr>
        <p:txBody>
          <a:bodyPr wrap="square" lIns="88900" tIns="88900" rIns="88900" bIns="88900" rtlCol="0" anchor="ctr"/>
          <a:lstStyle/>
          <a:p>
            <a:pPr algn="l">
              <a:lnSpc>
                <a:spcPct val="50000"/>
              </a:lnSpc>
              <a:buFont typeface="Wingdings 2" pitchFamily="18" charset="2"/>
              <a:buNone/>
            </a:pPr>
            <a:r>
              <a:rPr lang="en-US" sz="2800" b="1" dirty="0">
                <a:solidFill>
                  <a:schemeClr val="tx1"/>
                </a:solidFill>
              </a:rPr>
              <a:t>  </a:t>
            </a:r>
            <a:r>
              <a:rPr lang="en-US" sz="4000" b="1" dirty="0">
                <a:solidFill>
                  <a:schemeClr val="tx1"/>
                </a:solidFill>
              </a:rPr>
              <a:t>1</a:t>
            </a:r>
            <a:endParaRPr lang="en-US" sz="3600" b="1" dirty="0">
              <a:solidFill>
                <a:schemeClr val="tx1"/>
              </a:solidFill>
            </a:endParaRPr>
          </a:p>
        </p:txBody>
      </p:sp>
      <p:sp>
        <p:nvSpPr>
          <p:cNvPr id="22" name="Oval 21">
            <a:extLst>
              <a:ext uri="{FF2B5EF4-FFF2-40B4-BE49-F238E27FC236}">
                <a16:creationId xmlns:a16="http://schemas.microsoft.com/office/drawing/2014/main" id="{5C22EA53-3859-C082-8AA7-69B9D164B525}"/>
              </a:ext>
            </a:extLst>
          </p:cNvPr>
          <p:cNvSpPr/>
          <p:nvPr userDrawn="1"/>
        </p:nvSpPr>
        <p:spPr bwMode="gray">
          <a:xfrm>
            <a:off x="9009088" y="895940"/>
            <a:ext cx="1094282" cy="1094282"/>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tx1"/>
              </a:solidFill>
            </a:endParaRPr>
          </a:p>
          <a:p>
            <a:pPr algn="ctr">
              <a:lnSpc>
                <a:spcPct val="106000"/>
              </a:lnSpc>
              <a:buFont typeface="Wingdings 2" pitchFamily="18" charset="2"/>
              <a:buNone/>
            </a:pPr>
            <a:r>
              <a:rPr lang="en-US" sz="4000" b="1" dirty="0">
                <a:solidFill>
                  <a:schemeClr val="tx1"/>
                </a:solidFill>
              </a:rPr>
              <a:t>3</a:t>
            </a:r>
            <a:endParaRPr lang="en-US" sz="2400" b="1" dirty="0">
              <a:solidFill>
                <a:schemeClr val="tx1"/>
              </a:solidFill>
            </a:endParaRPr>
          </a:p>
        </p:txBody>
      </p:sp>
      <p:sp>
        <p:nvSpPr>
          <p:cNvPr id="24" name="Freeform 750">
            <a:extLst>
              <a:ext uri="{FF2B5EF4-FFF2-40B4-BE49-F238E27FC236}">
                <a16:creationId xmlns:a16="http://schemas.microsoft.com/office/drawing/2014/main" id="{073E96EC-5AA9-9135-E703-23DA2A3770B9}"/>
              </a:ext>
            </a:extLst>
          </p:cNvPr>
          <p:cNvSpPr>
            <a:spLocks noEditPoints="1"/>
          </p:cNvSpPr>
          <p:nvPr/>
        </p:nvSpPr>
        <p:spPr bwMode="auto">
          <a:xfrm>
            <a:off x="2149428" y="1059584"/>
            <a:ext cx="988438" cy="98843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ysClr val="windowText" lastClr="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ea typeface="ヒラギノ角ゴ ProN W3" charset="0"/>
              <a:sym typeface="Gotham Book" charset="0"/>
            </a:endParaRPr>
          </a:p>
        </p:txBody>
      </p:sp>
      <p:sp>
        <p:nvSpPr>
          <p:cNvPr id="29" name="Freeform 55">
            <a:extLst>
              <a:ext uri="{FF2B5EF4-FFF2-40B4-BE49-F238E27FC236}">
                <a16:creationId xmlns:a16="http://schemas.microsoft.com/office/drawing/2014/main" id="{54F3E095-5532-ACEE-EB58-C8076BD98638}"/>
              </a:ext>
            </a:extLst>
          </p:cNvPr>
          <p:cNvSpPr>
            <a:spLocks noEditPoints="1"/>
          </p:cNvSpPr>
          <p:nvPr/>
        </p:nvSpPr>
        <p:spPr bwMode="auto">
          <a:xfrm>
            <a:off x="9065627" y="1119547"/>
            <a:ext cx="981396" cy="98428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ysClr val="windowText" lastClr="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ea typeface="ヒラギノ角ゴ ProN W3" charset="0"/>
              <a:sym typeface="Gotham Book" charset="0"/>
            </a:endParaRPr>
          </a:p>
        </p:txBody>
      </p:sp>
      <p:sp>
        <p:nvSpPr>
          <p:cNvPr id="30" name="Content Placeholder 6">
            <a:extLst>
              <a:ext uri="{FF2B5EF4-FFF2-40B4-BE49-F238E27FC236}">
                <a16:creationId xmlns:a16="http://schemas.microsoft.com/office/drawing/2014/main" id="{F2B16B55-A5E9-0424-52AA-986C069266F3}"/>
              </a:ext>
            </a:extLst>
          </p:cNvPr>
          <p:cNvSpPr>
            <a:spLocks noGrp="1"/>
          </p:cNvSpPr>
          <p:nvPr>
            <p:ph sz="quarter" idx="14"/>
          </p:nvPr>
        </p:nvSpPr>
        <p:spPr>
          <a:xfrm>
            <a:off x="1490215" y="1768566"/>
            <a:ext cx="2306864" cy="3325557"/>
          </a:xfrm>
        </p:spPr>
        <p:txBody>
          <a:bodyPr/>
          <a:lstStyle>
            <a:lvl1pPr marL="0" indent="0">
              <a:buNone/>
              <a:defRPr/>
            </a:lvl1pPr>
            <a:lvl2pPr algn="ctr">
              <a:defRPr sz="1800">
                <a:solidFill>
                  <a:schemeClr val="tx1"/>
                </a:solidFill>
              </a:defRPr>
            </a:lvl2pPr>
            <a:lvl3pPr>
              <a:defRPr sz="1200"/>
            </a:lvl3pPr>
            <a:lvl4pPr>
              <a:defRPr sz="1200"/>
            </a:lvl4pPr>
            <a:lvl5pPr>
              <a:defRPr sz="1200"/>
            </a:lvl5pPr>
          </a:lstStyle>
          <a:p>
            <a:pPr lvl="1"/>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Content Placeholder 6">
            <a:extLst>
              <a:ext uri="{FF2B5EF4-FFF2-40B4-BE49-F238E27FC236}">
                <a16:creationId xmlns:a16="http://schemas.microsoft.com/office/drawing/2014/main" id="{AE4BF95A-935D-98DB-11B4-F4BE7E56EBCB}"/>
              </a:ext>
            </a:extLst>
          </p:cNvPr>
          <p:cNvSpPr>
            <a:spLocks noGrp="1"/>
          </p:cNvSpPr>
          <p:nvPr>
            <p:ph sz="quarter" idx="19"/>
          </p:nvPr>
        </p:nvSpPr>
        <p:spPr>
          <a:xfrm>
            <a:off x="5108709" y="2618683"/>
            <a:ext cx="2306864" cy="2923498"/>
          </a:xfrm>
        </p:spPr>
        <p:txBody>
          <a:bodyPr/>
          <a:lstStyle>
            <a:lvl1pPr marL="0" indent="0">
              <a:buNone/>
              <a:defRPr/>
            </a:lvl1pPr>
            <a:lvl2pPr algn="ctr">
              <a:defRPr sz="1800">
                <a:solidFill>
                  <a:schemeClr val="tx1"/>
                </a:solidFill>
              </a:defRPr>
            </a:lvl2pPr>
            <a:lvl3pPr>
              <a:defRPr sz="1200"/>
            </a:lvl3pPr>
            <a:lvl4pPr>
              <a:defRPr sz="1200"/>
            </a:lvl4pPr>
            <a:lvl5pPr>
              <a:defRPr sz="1200"/>
            </a:lvl5pPr>
          </a:lstStyle>
          <a:p>
            <a:pPr lvl="1"/>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Content Placeholder 6">
            <a:extLst>
              <a:ext uri="{FF2B5EF4-FFF2-40B4-BE49-F238E27FC236}">
                <a16:creationId xmlns:a16="http://schemas.microsoft.com/office/drawing/2014/main" id="{1DA051B8-CE64-27D6-F0F0-4B5EAB435B25}"/>
              </a:ext>
            </a:extLst>
          </p:cNvPr>
          <p:cNvSpPr>
            <a:spLocks noGrp="1"/>
          </p:cNvSpPr>
          <p:nvPr>
            <p:ph sz="quarter" idx="20"/>
          </p:nvPr>
        </p:nvSpPr>
        <p:spPr>
          <a:xfrm>
            <a:off x="8402797" y="1855333"/>
            <a:ext cx="2306864" cy="3005871"/>
          </a:xfrm>
        </p:spPr>
        <p:txBody>
          <a:bodyPr/>
          <a:lstStyle>
            <a:lvl1pPr marL="0" indent="0">
              <a:buNone/>
              <a:defRPr/>
            </a:lvl1pPr>
            <a:lvl2pPr algn="ctr">
              <a:defRPr sz="1800">
                <a:solidFill>
                  <a:schemeClr val="tx1"/>
                </a:solidFill>
              </a:defRPr>
            </a:lvl2pPr>
            <a:lvl3pPr>
              <a:defRPr sz="1200"/>
            </a:lvl3pPr>
            <a:lvl4pPr>
              <a:defRPr sz="1200"/>
            </a:lvl4pPr>
            <a:lvl5pPr>
              <a:defRPr sz="1200"/>
            </a:lvl5pPr>
          </a:lstStyle>
          <a:p>
            <a:pPr lvl="1"/>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Box 2">
            <a:extLst>
              <a:ext uri="{FF2B5EF4-FFF2-40B4-BE49-F238E27FC236}">
                <a16:creationId xmlns:a16="http://schemas.microsoft.com/office/drawing/2014/main" id="{00CADAE3-CB66-97E9-C007-7D6FC22446AE}"/>
              </a:ext>
            </a:extLst>
          </p:cNvPr>
          <p:cNvSpPr txBox="1"/>
          <p:nvPr userDrawn="1"/>
        </p:nvSpPr>
        <p:spPr>
          <a:xfrm>
            <a:off x="9818297" y="172023"/>
            <a:ext cx="1872051" cy="276999"/>
          </a:xfrm>
          <a:prstGeom prst="rect">
            <a:avLst/>
          </a:prstGeom>
          <a:noFill/>
          <a:ln w="28575">
            <a:noFill/>
          </a:ln>
        </p:spPr>
        <p:txBody>
          <a:bodyPr wrap="none" lIns="0" tIns="0" rIns="0" bIns="0" rtlCol="0">
            <a:spAutoFit/>
          </a:bodyPr>
          <a:lstStyle/>
          <a:p>
            <a:pPr marL="0" indent="0">
              <a:spcBef>
                <a:spcPts val="600"/>
              </a:spcBef>
              <a:buSzPct val="100000"/>
              <a:buFont typeface="Arial"/>
              <a:buNone/>
            </a:pPr>
            <a:r>
              <a:rPr lang="en-US" b="1" dirty="0">
                <a:solidFill>
                  <a:srgbClr val="FF0000"/>
                </a:solidFill>
              </a:rPr>
              <a:t>AI Generated Draft</a:t>
            </a:r>
          </a:p>
        </p:txBody>
      </p:sp>
    </p:spTree>
    <p:extLst>
      <p:ext uri="{BB962C8B-B14F-4D97-AF65-F5344CB8AC3E}">
        <p14:creationId xmlns:p14="http://schemas.microsoft.com/office/powerpoint/2010/main" val="247661462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4_2 columns of text">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D58FF0B8-12F4-41CE-AD69-DD52D41C8BBD}"/>
              </a:ext>
            </a:extLst>
          </p:cNvPr>
          <p:cNvSpPr>
            <a:spLocks noGrp="1"/>
          </p:cNvSpPr>
          <p:nvPr>
            <p:ph type="body" sz="quarter" idx="13" hasCustomPrompt="1"/>
          </p:nvPr>
        </p:nvSpPr>
        <p:spPr>
          <a:xfrm>
            <a:off x="501650" y="651601"/>
            <a:ext cx="11188700" cy="334100"/>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565F50C2-3A2B-43F6-97B9-A4F3EF05E45A}"/>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cxnSp>
        <p:nvCxnSpPr>
          <p:cNvPr id="4" name="Straight Connector 3">
            <a:extLst>
              <a:ext uri="{FF2B5EF4-FFF2-40B4-BE49-F238E27FC236}">
                <a16:creationId xmlns:a16="http://schemas.microsoft.com/office/drawing/2014/main" id="{73C71B7F-53D8-905B-EC9E-12A58A442282}"/>
              </a:ext>
            </a:extLst>
          </p:cNvPr>
          <p:cNvCxnSpPr>
            <a:cxnSpLocks/>
            <a:endCxn id="25" idx="4"/>
          </p:cNvCxnSpPr>
          <p:nvPr userDrawn="1"/>
        </p:nvCxnSpPr>
        <p:spPr>
          <a:xfrm flipV="1">
            <a:off x="800100" y="1740016"/>
            <a:ext cx="0" cy="3216385"/>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20CE3773-8620-8DEC-F72F-BADF6E3DE55E}"/>
              </a:ext>
            </a:extLst>
          </p:cNvPr>
          <p:cNvCxnSpPr>
            <a:cxnSpLocks/>
            <a:endCxn id="27" idx="4"/>
          </p:cNvCxnSpPr>
          <p:nvPr userDrawn="1"/>
        </p:nvCxnSpPr>
        <p:spPr>
          <a:xfrm flipV="1">
            <a:off x="9436917" y="2622433"/>
            <a:ext cx="4653" cy="2406768"/>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1EDFC2A-7CB7-3603-7FFB-50819DB011FE}"/>
              </a:ext>
            </a:extLst>
          </p:cNvPr>
          <p:cNvCxnSpPr>
            <a:cxnSpLocks/>
            <a:endCxn id="11" idx="4"/>
          </p:cNvCxnSpPr>
          <p:nvPr userDrawn="1"/>
        </p:nvCxnSpPr>
        <p:spPr>
          <a:xfrm flipV="1">
            <a:off x="6560072" y="2170589"/>
            <a:ext cx="0" cy="2794462"/>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B0C00F81-209B-5702-CAAA-729D40BD6646}"/>
              </a:ext>
            </a:extLst>
          </p:cNvPr>
          <p:cNvSpPr/>
          <p:nvPr userDrawn="1"/>
        </p:nvSpPr>
        <p:spPr>
          <a:xfrm>
            <a:off x="6445772" y="1941989"/>
            <a:ext cx="228600" cy="228600"/>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3"/>
              </a:solidFill>
              <a:effectLst/>
              <a:uLnTx/>
              <a:uFillTx/>
              <a:latin typeface="Open Sans"/>
              <a:ea typeface="Microsoft YaHei"/>
              <a:cs typeface="+mn-cs"/>
            </a:endParaRPr>
          </a:p>
        </p:txBody>
      </p:sp>
      <p:cxnSp>
        <p:nvCxnSpPr>
          <p:cNvPr id="12" name="Straight Connector 11">
            <a:extLst>
              <a:ext uri="{FF2B5EF4-FFF2-40B4-BE49-F238E27FC236}">
                <a16:creationId xmlns:a16="http://schemas.microsoft.com/office/drawing/2014/main" id="{A9281C26-EB90-F478-01A5-9CD09F159C2A}"/>
              </a:ext>
            </a:extLst>
          </p:cNvPr>
          <p:cNvCxnSpPr>
            <a:cxnSpLocks/>
            <a:endCxn id="15" idx="4"/>
          </p:cNvCxnSpPr>
          <p:nvPr userDrawn="1"/>
        </p:nvCxnSpPr>
        <p:spPr>
          <a:xfrm flipV="1">
            <a:off x="3678884" y="2782868"/>
            <a:ext cx="0" cy="2435911"/>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B162F096-7F3B-C1C7-B783-1A4F3C1A8D1F}"/>
              </a:ext>
            </a:extLst>
          </p:cNvPr>
          <p:cNvSpPr/>
          <p:nvPr userDrawn="1"/>
        </p:nvSpPr>
        <p:spPr>
          <a:xfrm>
            <a:off x="3564584" y="2554268"/>
            <a:ext cx="228600" cy="228600"/>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3"/>
              </a:solidFill>
              <a:effectLst/>
              <a:uLnTx/>
              <a:uFillTx/>
              <a:latin typeface="Open Sans"/>
              <a:ea typeface="Microsoft YaHei"/>
              <a:cs typeface="+mn-cs"/>
            </a:endParaRPr>
          </a:p>
        </p:txBody>
      </p:sp>
      <p:sp>
        <p:nvSpPr>
          <p:cNvPr id="25" name="Oval 24">
            <a:extLst>
              <a:ext uri="{FF2B5EF4-FFF2-40B4-BE49-F238E27FC236}">
                <a16:creationId xmlns:a16="http://schemas.microsoft.com/office/drawing/2014/main" id="{075CF872-00BF-80FC-410C-902F2C0B6F67}"/>
              </a:ext>
            </a:extLst>
          </p:cNvPr>
          <p:cNvSpPr/>
          <p:nvPr userDrawn="1"/>
        </p:nvSpPr>
        <p:spPr>
          <a:xfrm>
            <a:off x="685800" y="1511416"/>
            <a:ext cx="228600" cy="228600"/>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3"/>
              </a:solidFill>
              <a:effectLst/>
              <a:uLnTx/>
              <a:uFillTx/>
              <a:latin typeface="Open Sans"/>
              <a:ea typeface="Microsoft YaHei"/>
              <a:cs typeface="+mn-cs"/>
            </a:endParaRPr>
          </a:p>
        </p:txBody>
      </p:sp>
      <p:sp>
        <p:nvSpPr>
          <p:cNvPr id="27" name="Oval 26">
            <a:extLst>
              <a:ext uri="{FF2B5EF4-FFF2-40B4-BE49-F238E27FC236}">
                <a16:creationId xmlns:a16="http://schemas.microsoft.com/office/drawing/2014/main" id="{554DA013-BAEF-82DC-2838-D5D83AC5AB2D}"/>
              </a:ext>
            </a:extLst>
          </p:cNvPr>
          <p:cNvSpPr/>
          <p:nvPr userDrawn="1"/>
        </p:nvSpPr>
        <p:spPr>
          <a:xfrm>
            <a:off x="9327270" y="2393833"/>
            <a:ext cx="228600" cy="228600"/>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3"/>
              </a:solidFill>
              <a:effectLst/>
              <a:uLnTx/>
              <a:uFillTx/>
              <a:latin typeface="Open Sans"/>
              <a:ea typeface="Microsoft YaHei"/>
              <a:cs typeface="+mn-cs"/>
            </a:endParaRPr>
          </a:p>
        </p:txBody>
      </p:sp>
      <p:sp>
        <p:nvSpPr>
          <p:cNvPr id="29" name="Content Placeholder 6">
            <a:extLst>
              <a:ext uri="{FF2B5EF4-FFF2-40B4-BE49-F238E27FC236}">
                <a16:creationId xmlns:a16="http://schemas.microsoft.com/office/drawing/2014/main" id="{8992B07A-3B36-3A7E-6E83-6917AA4EEC57}"/>
              </a:ext>
            </a:extLst>
          </p:cNvPr>
          <p:cNvSpPr>
            <a:spLocks noGrp="1"/>
          </p:cNvSpPr>
          <p:nvPr>
            <p:ph sz="quarter" idx="14" hasCustomPrompt="1"/>
          </p:nvPr>
        </p:nvSpPr>
        <p:spPr>
          <a:xfrm>
            <a:off x="976688" y="1247775"/>
            <a:ext cx="2306864" cy="2662421"/>
          </a:xfrm>
        </p:spPr>
        <p:txBody>
          <a:bodyPr/>
          <a:lstStyle>
            <a:lvl1pPr marL="0" indent="0">
              <a:buNone/>
              <a:defRPr/>
            </a:lvl1pPr>
            <a:lvl2pPr>
              <a:defRPr sz="1800">
                <a:solidFill>
                  <a:schemeClr val="tx1"/>
                </a:solidFill>
              </a:defRPr>
            </a:lvl2pPr>
            <a:lvl3pPr>
              <a:defRPr sz="1200"/>
            </a:lvl3pPr>
            <a:lvl4pPr>
              <a:defRPr sz="1200"/>
            </a:lvl4pPr>
            <a:lvl5pPr>
              <a:defRPr sz="1200"/>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0" name="Content Placeholder 6">
            <a:extLst>
              <a:ext uri="{FF2B5EF4-FFF2-40B4-BE49-F238E27FC236}">
                <a16:creationId xmlns:a16="http://schemas.microsoft.com/office/drawing/2014/main" id="{58DFB3B9-FB8D-0343-FF52-AB1562BF0DF6}"/>
              </a:ext>
            </a:extLst>
          </p:cNvPr>
          <p:cNvSpPr>
            <a:spLocks noGrp="1"/>
          </p:cNvSpPr>
          <p:nvPr>
            <p:ph sz="quarter" idx="21" hasCustomPrompt="1"/>
          </p:nvPr>
        </p:nvSpPr>
        <p:spPr>
          <a:xfrm>
            <a:off x="3899284" y="2302630"/>
            <a:ext cx="2306864" cy="2662421"/>
          </a:xfrm>
        </p:spPr>
        <p:txBody>
          <a:bodyPr/>
          <a:lstStyle>
            <a:lvl1pPr marL="0" indent="0">
              <a:buNone/>
              <a:defRPr/>
            </a:lvl1pPr>
            <a:lvl2pPr>
              <a:defRPr sz="1800">
                <a:solidFill>
                  <a:schemeClr val="tx1"/>
                </a:solidFill>
              </a:defRPr>
            </a:lvl2pPr>
            <a:lvl3pPr>
              <a:defRPr sz="1200"/>
            </a:lvl3pPr>
            <a:lvl4pPr>
              <a:defRPr sz="1200"/>
            </a:lvl4pPr>
            <a:lvl5pPr>
              <a:defRPr sz="1200"/>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1" name="Content Placeholder 6">
            <a:extLst>
              <a:ext uri="{FF2B5EF4-FFF2-40B4-BE49-F238E27FC236}">
                <a16:creationId xmlns:a16="http://schemas.microsoft.com/office/drawing/2014/main" id="{C30ED7FA-AA13-C484-61BF-32D024F568C9}"/>
              </a:ext>
            </a:extLst>
          </p:cNvPr>
          <p:cNvSpPr>
            <a:spLocks noGrp="1"/>
          </p:cNvSpPr>
          <p:nvPr>
            <p:ph sz="quarter" idx="22" hasCustomPrompt="1"/>
          </p:nvPr>
        </p:nvSpPr>
        <p:spPr>
          <a:xfrm>
            <a:off x="6734720" y="1585565"/>
            <a:ext cx="2306864" cy="2794462"/>
          </a:xfrm>
        </p:spPr>
        <p:txBody>
          <a:bodyPr/>
          <a:lstStyle>
            <a:lvl1pPr marL="0" indent="0">
              <a:buNone/>
              <a:defRPr/>
            </a:lvl1pPr>
            <a:lvl2pPr>
              <a:defRPr sz="1800">
                <a:solidFill>
                  <a:schemeClr val="tx1"/>
                </a:solidFill>
              </a:defRPr>
            </a:lvl2pPr>
            <a:lvl3pPr>
              <a:defRPr sz="1200"/>
            </a:lvl3pPr>
            <a:lvl4pPr>
              <a:defRPr sz="1200"/>
            </a:lvl4pPr>
            <a:lvl5pPr>
              <a:defRPr sz="1200"/>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2" name="Content Placeholder 6">
            <a:extLst>
              <a:ext uri="{FF2B5EF4-FFF2-40B4-BE49-F238E27FC236}">
                <a16:creationId xmlns:a16="http://schemas.microsoft.com/office/drawing/2014/main" id="{03F31A87-6150-C767-C8B3-E0125A352946}"/>
              </a:ext>
            </a:extLst>
          </p:cNvPr>
          <p:cNvSpPr>
            <a:spLocks noGrp="1"/>
          </p:cNvSpPr>
          <p:nvPr>
            <p:ph sz="quarter" idx="23" hasCustomPrompt="1"/>
          </p:nvPr>
        </p:nvSpPr>
        <p:spPr>
          <a:xfrm>
            <a:off x="9657316" y="2059731"/>
            <a:ext cx="2306864" cy="2855170"/>
          </a:xfrm>
        </p:spPr>
        <p:txBody>
          <a:bodyPr/>
          <a:lstStyle>
            <a:lvl1pPr marL="0" indent="0">
              <a:buNone/>
              <a:defRPr/>
            </a:lvl1pPr>
            <a:lvl2pPr>
              <a:defRPr sz="1800">
                <a:solidFill>
                  <a:schemeClr val="tx1"/>
                </a:solidFill>
              </a:defRPr>
            </a:lvl2pPr>
            <a:lvl3pPr>
              <a:defRPr sz="1200"/>
            </a:lvl3pPr>
            <a:lvl4pPr>
              <a:defRPr sz="1200"/>
            </a:lvl4pPr>
            <a:lvl5pPr>
              <a:defRPr sz="1200"/>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Box 2">
            <a:extLst>
              <a:ext uri="{FF2B5EF4-FFF2-40B4-BE49-F238E27FC236}">
                <a16:creationId xmlns:a16="http://schemas.microsoft.com/office/drawing/2014/main" id="{52EF5E1A-B372-C71B-4B78-7C7431DFE3CE}"/>
              </a:ext>
            </a:extLst>
          </p:cNvPr>
          <p:cNvSpPr txBox="1"/>
          <p:nvPr userDrawn="1"/>
        </p:nvSpPr>
        <p:spPr>
          <a:xfrm>
            <a:off x="9818297" y="172023"/>
            <a:ext cx="1872051" cy="276999"/>
          </a:xfrm>
          <a:prstGeom prst="rect">
            <a:avLst/>
          </a:prstGeom>
          <a:noFill/>
          <a:ln w="28575">
            <a:noFill/>
          </a:ln>
        </p:spPr>
        <p:txBody>
          <a:bodyPr wrap="none" lIns="0" tIns="0" rIns="0" bIns="0" rtlCol="0">
            <a:spAutoFit/>
          </a:bodyPr>
          <a:lstStyle/>
          <a:p>
            <a:pPr marL="0" indent="0">
              <a:spcBef>
                <a:spcPts val="600"/>
              </a:spcBef>
              <a:buSzPct val="100000"/>
              <a:buFont typeface="Arial"/>
              <a:buNone/>
            </a:pPr>
            <a:r>
              <a:rPr lang="en-US" b="1" dirty="0">
                <a:solidFill>
                  <a:srgbClr val="FF0000"/>
                </a:solidFill>
              </a:rPr>
              <a:t>AI Generated Draft</a:t>
            </a:r>
          </a:p>
        </p:txBody>
      </p:sp>
    </p:spTree>
    <p:extLst>
      <p:ext uri="{BB962C8B-B14F-4D97-AF65-F5344CB8AC3E}">
        <p14:creationId xmlns:p14="http://schemas.microsoft.com/office/powerpoint/2010/main" val="1822350867"/>
      </p:ext>
    </p:extLst>
  </p:cSld>
  <p:clrMapOvr>
    <a:masterClrMapping/>
  </p:clrMapOvr>
  <p:transition>
    <p:fade/>
  </p:transition>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4 column icon">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358775" y="651600"/>
            <a:ext cx="11434704" cy="334099"/>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358775" y="317500"/>
            <a:ext cx="11434704"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3" name="Content Placeholder 2">
            <a:extLst>
              <a:ext uri="{FF2B5EF4-FFF2-40B4-BE49-F238E27FC236}">
                <a16:creationId xmlns:a16="http://schemas.microsoft.com/office/drawing/2014/main" id="{212C24D3-EC84-B15A-4124-AECE3E3D15F9}"/>
              </a:ext>
            </a:extLst>
          </p:cNvPr>
          <p:cNvSpPr>
            <a:spLocks noGrp="1"/>
          </p:cNvSpPr>
          <p:nvPr>
            <p:ph sz="quarter" idx="29" hasCustomPrompt="1"/>
          </p:nvPr>
        </p:nvSpPr>
        <p:spPr>
          <a:xfrm>
            <a:off x="346075" y="1343025"/>
            <a:ext cx="2730500" cy="4460481"/>
          </a:xfrm>
        </p:spPr>
        <p:txBody>
          <a:bodyPr/>
          <a:lstStyle>
            <a:lvl2pPr>
              <a:defRPr sz="1600">
                <a:solidFill>
                  <a:srgbClr val="92D050"/>
                </a:solidFill>
              </a:defRPr>
            </a:lvl2pPr>
            <a:lvl3pPr>
              <a:defRPr sz="1200"/>
            </a:lvl3pPr>
            <a:lvl4pPr>
              <a:defRPr sz="1200"/>
            </a:lvl4pPr>
            <a:lvl5pPr>
              <a:defRPr sz="1200"/>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a:extLst>
              <a:ext uri="{FF2B5EF4-FFF2-40B4-BE49-F238E27FC236}">
                <a16:creationId xmlns:a16="http://schemas.microsoft.com/office/drawing/2014/main" id="{D11F95E2-B90B-84F8-0294-E0E0A65A82E8}"/>
              </a:ext>
            </a:extLst>
          </p:cNvPr>
          <p:cNvSpPr>
            <a:spLocks noGrp="1"/>
          </p:cNvSpPr>
          <p:nvPr>
            <p:ph sz="quarter" idx="30" hasCustomPrompt="1"/>
          </p:nvPr>
        </p:nvSpPr>
        <p:spPr>
          <a:xfrm>
            <a:off x="9062979" y="1333500"/>
            <a:ext cx="2730500" cy="4460481"/>
          </a:xfrm>
        </p:spPr>
        <p:txBody>
          <a:bodyPr/>
          <a:lstStyle>
            <a:lvl2pPr>
              <a:defRPr sz="1600">
                <a:solidFill>
                  <a:srgbClr val="92D050"/>
                </a:solidFill>
              </a:defRPr>
            </a:lvl2pPr>
            <a:lvl3pPr>
              <a:defRPr sz="1200"/>
            </a:lvl3pPr>
            <a:lvl4pPr>
              <a:defRPr sz="1200"/>
            </a:lvl4pPr>
            <a:lvl5pPr>
              <a:defRPr sz="1200"/>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a:extLst>
              <a:ext uri="{FF2B5EF4-FFF2-40B4-BE49-F238E27FC236}">
                <a16:creationId xmlns:a16="http://schemas.microsoft.com/office/drawing/2014/main" id="{226CEE1A-232E-E2D2-D2F7-A30302160E81}"/>
              </a:ext>
            </a:extLst>
          </p:cNvPr>
          <p:cNvSpPr>
            <a:spLocks noGrp="1"/>
          </p:cNvSpPr>
          <p:nvPr>
            <p:ph sz="quarter" idx="31" hasCustomPrompt="1"/>
          </p:nvPr>
        </p:nvSpPr>
        <p:spPr>
          <a:xfrm>
            <a:off x="6139865" y="1333500"/>
            <a:ext cx="2730500" cy="4460481"/>
          </a:xfrm>
        </p:spPr>
        <p:txBody>
          <a:bodyPr/>
          <a:lstStyle>
            <a:lvl2pPr>
              <a:defRPr sz="1600">
                <a:solidFill>
                  <a:srgbClr val="92D050"/>
                </a:solidFill>
              </a:defRPr>
            </a:lvl2pPr>
            <a:lvl3pPr>
              <a:defRPr sz="1200"/>
            </a:lvl3pPr>
            <a:lvl4pPr>
              <a:defRPr sz="1200"/>
            </a:lvl4pPr>
            <a:lvl5pPr>
              <a:defRPr sz="1200"/>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6B1651AC-E1A9-D769-EF5C-7DD1D796C41A}"/>
              </a:ext>
            </a:extLst>
          </p:cNvPr>
          <p:cNvSpPr>
            <a:spLocks noGrp="1"/>
          </p:cNvSpPr>
          <p:nvPr>
            <p:ph sz="quarter" idx="32" hasCustomPrompt="1"/>
          </p:nvPr>
        </p:nvSpPr>
        <p:spPr>
          <a:xfrm>
            <a:off x="3242970" y="1333500"/>
            <a:ext cx="2730500" cy="4460481"/>
          </a:xfrm>
        </p:spPr>
        <p:txBody>
          <a:bodyPr/>
          <a:lstStyle>
            <a:lvl2pPr>
              <a:defRPr sz="1600">
                <a:solidFill>
                  <a:srgbClr val="92D050"/>
                </a:solidFill>
              </a:defRPr>
            </a:lvl2pPr>
            <a:lvl3pPr>
              <a:defRPr sz="1200"/>
            </a:lvl3pPr>
            <a:lvl4pPr>
              <a:defRPr sz="1200"/>
            </a:lvl4pPr>
            <a:lvl5pPr>
              <a:defRPr sz="1200"/>
            </a:lvl5pPr>
          </a:lstStyle>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Picture 11" descr="molecular strand.eps">
            <a:extLst>
              <a:ext uri="{FF2B5EF4-FFF2-40B4-BE49-F238E27FC236}">
                <a16:creationId xmlns:a16="http://schemas.microsoft.com/office/drawing/2014/main" id="{0DB7AEAE-6291-E779-EA72-8DB5ABF8B2F1}"/>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24342" r="24342"/>
          <a:stretch/>
        </p:blipFill>
        <p:spPr>
          <a:xfrm>
            <a:off x="-43864" y="5793981"/>
            <a:ext cx="12192000" cy="545769"/>
          </a:xfrm>
          <a:prstGeom prst="rect">
            <a:avLst/>
          </a:prstGeom>
        </p:spPr>
      </p:pic>
      <p:sp>
        <p:nvSpPr>
          <p:cNvPr id="2" name="TextBox 1">
            <a:extLst>
              <a:ext uri="{FF2B5EF4-FFF2-40B4-BE49-F238E27FC236}">
                <a16:creationId xmlns:a16="http://schemas.microsoft.com/office/drawing/2014/main" id="{7F034055-5345-F5C2-E792-55C0CC918FE6}"/>
              </a:ext>
            </a:extLst>
          </p:cNvPr>
          <p:cNvSpPr txBox="1"/>
          <p:nvPr userDrawn="1"/>
        </p:nvSpPr>
        <p:spPr>
          <a:xfrm>
            <a:off x="9818297" y="172023"/>
            <a:ext cx="1872051" cy="276999"/>
          </a:xfrm>
          <a:prstGeom prst="rect">
            <a:avLst/>
          </a:prstGeom>
          <a:noFill/>
          <a:ln w="28575">
            <a:noFill/>
          </a:ln>
        </p:spPr>
        <p:txBody>
          <a:bodyPr wrap="none" lIns="0" tIns="0" rIns="0" bIns="0" rtlCol="0">
            <a:spAutoFit/>
          </a:bodyPr>
          <a:lstStyle/>
          <a:p>
            <a:pPr marL="0" indent="0">
              <a:spcBef>
                <a:spcPts val="600"/>
              </a:spcBef>
              <a:buSzPct val="100000"/>
              <a:buFont typeface="Arial"/>
              <a:buNone/>
            </a:pPr>
            <a:r>
              <a:rPr lang="en-US" b="1" dirty="0">
                <a:solidFill>
                  <a:srgbClr val="FF0000"/>
                </a:solidFill>
              </a:rPr>
              <a:t>AI Generated Draft</a:t>
            </a:r>
          </a:p>
        </p:txBody>
      </p:sp>
    </p:spTree>
    <p:extLst>
      <p:ext uri="{BB962C8B-B14F-4D97-AF65-F5344CB8AC3E}">
        <p14:creationId xmlns:p14="http://schemas.microsoft.com/office/powerpoint/2010/main" val="409260985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3_2 columns of text">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565F50C2-3A2B-43F6-97B9-A4F3EF05E45A}"/>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8" name="Text Placeholder 8">
            <a:extLst>
              <a:ext uri="{FF2B5EF4-FFF2-40B4-BE49-F238E27FC236}">
                <a16:creationId xmlns:a16="http://schemas.microsoft.com/office/drawing/2014/main" id="{D58FF0B8-12F4-41CE-AD69-DD52D41C8BBD}"/>
              </a:ext>
            </a:extLst>
          </p:cNvPr>
          <p:cNvSpPr>
            <a:spLocks noGrp="1"/>
          </p:cNvSpPr>
          <p:nvPr>
            <p:ph type="body" sz="quarter" idx="13" hasCustomPrompt="1"/>
          </p:nvPr>
        </p:nvSpPr>
        <p:spPr>
          <a:xfrm>
            <a:off x="501650" y="651601"/>
            <a:ext cx="11188700" cy="334100"/>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pic>
        <p:nvPicPr>
          <p:cNvPr id="17" name="Picture 16">
            <a:extLst>
              <a:ext uri="{FF2B5EF4-FFF2-40B4-BE49-F238E27FC236}">
                <a16:creationId xmlns:a16="http://schemas.microsoft.com/office/drawing/2014/main" id="{AD2AC35E-14B2-FD7D-F366-9C570D2B1736}"/>
              </a:ext>
            </a:extLst>
          </p:cNvPr>
          <p:cNvPicPr>
            <a:picLocks noChangeAspect="1"/>
          </p:cNvPicPr>
          <p:nvPr userDrawn="1"/>
        </p:nvPicPr>
        <p:blipFill>
          <a:blip r:embed="rId2"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475696" y="0"/>
            <a:ext cx="10716304" cy="6858000"/>
          </a:xfrm>
          <a:prstGeom prst="rect">
            <a:avLst/>
          </a:prstGeom>
        </p:spPr>
      </p:pic>
      <p:sp>
        <p:nvSpPr>
          <p:cNvPr id="19" name="Rectangle: Rounded Corners 7">
            <a:extLst>
              <a:ext uri="{FF2B5EF4-FFF2-40B4-BE49-F238E27FC236}">
                <a16:creationId xmlns:a16="http://schemas.microsoft.com/office/drawing/2014/main" id="{537EAA6A-A8CA-8695-E15C-CAB04238E34F}"/>
              </a:ext>
            </a:extLst>
          </p:cNvPr>
          <p:cNvSpPr/>
          <p:nvPr userDrawn="1"/>
        </p:nvSpPr>
        <p:spPr>
          <a:xfrm>
            <a:off x="952835" y="3630168"/>
            <a:ext cx="3124200" cy="1589093"/>
          </a:xfrm>
          <a:prstGeom prst="roundRect">
            <a:avLst/>
          </a:prstGeom>
          <a:solidFill>
            <a:schemeClr val="accent1">
              <a:lumMod val="20000"/>
              <a:lumOff val="80000"/>
            </a:schemeClr>
          </a:solidFill>
          <a:ln w="5080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Open Sans Light" panose="020B0306030504020204" pitchFamily="34" charset="0"/>
            </a:endParaRPr>
          </a:p>
        </p:txBody>
      </p:sp>
      <p:sp>
        <p:nvSpPr>
          <p:cNvPr id="21" name="Rectangle: Rounded Corners 20">
            <a:extLst>
              <a:ext uri="{FF2B5EF4-FFF2-40B4-BE49-F238E27FC236}">
                <a16:creationId xmlns:a16="http://schemas.microsoft.com/office/drawing/2014/main" id="{C3E8E96B-F7CD-0E00-6397-66AA3AEA0656}"/>
              </a:ext>
            </a:extLst>
          </p:cNvPr>
          <p:cNvSpPr/>
          <p:nvPr userDrawn="1"/>
        </p:nvSpPr>
        <p:spPr>
          <a:xfrm>
            <a:off x="2462038" y="5217476"/>
            <a:ext cx="105794" cy="751115"/>
          </a:xfrm>
          <a:prstGeom prst="round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0" name="Rectangle: Rounded Corners 39">
            <a:extLst>
              <a:ext uri="{FF2B5EF4-FFF2-40B4-BE49-F238E27FC236}">
                <a16:creationId xmlns:a16="http://schemas.microsoft.com/office/drawing/2014/main" id="{0F3F5F91-5C4D-5346-D5FC-4D7A883197B5}"/>
              </a:ext>
            </a:extLst>
          </p:cNvPr>
          <p:cNvSpPr/>
          <p:nvPr userDrawn="1"/>
        </p:nvSpPr>
        <p:spPr>
          <a:xfrm>
            <a:off x="10470224" y="1626883"/>
            <a:ext cx="105794" cy="457198"/>
          </a:xfrm>
          <a:prstGeom prst="round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58964681-3D5C-600C-49D7-0BD647CBA46F}"/>
              </a:ext>
            </a:extLst>
          </p:cNvPr>
          <p:cNvSpPr/>
          <p:nvPr userDrawn="1"/>
        </p:nvSpPr>
        <p:spPr>
          <a:xfrm>
            <a:off x="5445972" y="2279264"/>
            <a:ext cx="105794" cy="566057"/>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1" name="Rectangle: Rounded Corners 22">
            <a:extLst>
              <a:ext uri="{FF2B5EF4-FFF2-40B4-BE49-F238E27FC236}">
                <a16:creationId xmlns:a16="http://schemas.microsoft.com/office/drawing/2014/main" id="{F05B5514-AF6E-053A-F4E3-B4330E017F26}"/>
              </a:ext>
            </a:extLst>
          </p:cNvPr>
          <p:cNvSpPr/>
          <p:nvPr userDrawn="1"/>
        </p:nvSpPr>
        <p:spPr>
          <a:xfrm>
            <a:off x="6256651" y="3227832"/>
            <a:ext cx="2636977" cy="1460435"/>
          </a:xfrm>
          <a:prstGeom prst="roundRect">
            <a:avLst/>
          </a:prstGeom>
          <a:solidFill>
            <a:srgbClr val="A0DCFF">
              <a:alpha val="45882"/>
            </a:srgbClr>
          </a:solidFill>
          <a:ln w="50800">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R="0" lvl="0" indent="0" algn="ctr" fontAlgn="auto">
              <a:lnSpc>
                <a:spcPct val="100000"/>
              </a:lnSpc>
              <a:spcBef>
                <a:spcPts val="60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Open Sans Light" panose="020B0306030504020204" pitchFamily="34" charset="0"/>
            </a:endParaRPr>
          </a:p>
        </p:txBody>
      </p:sp>
      <p:sp>
        <p:nvSpPr>
          <p:cNvPr id="44" name="Rectangle 43">
            <a:extLst>
              <a:ext uri="{FF2B5EF4-FFF2-40B4-BE49-F238E27FC236}">
                <a16:creationId xmlns:a16="http://schemas.microsoft.com/office/drawing/2014/main" id="{82FDBE62-81A5-EB1E-54E5-2BABD771E8B5}"/>
              </a:ext>
            </a:extLst>
          </p:cNvPr>
          <p:cNvSpPr/>
          <p:nvPr userDrawn="1"/>
        </p:nvSpPr>
        <p:spPr>
          <a:xfrm>
            <a:off x="7491683" y="4691210"/>
            <a:ext cx="105794" cy="457198"/>
          </a:xfrm>
          <a:prstGeom prst="rect">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5" name="Rectangle: Rounded Corners 14">
            <a:extLst>
              <a:ext uri="{FF2B5EF4-FFF2-40B4-BE49-F238E27FC236}">
                <a16:creationId xmlns:a16="http://schemas.microsoft.com/office/drawing/2014/main" id="{DE382151-FECB-537B-1357-F5ADD196DD3B}"/>
              </a:ext>
            </a:extLst>
          </p:cNvPr>
          <p:cNvSpPr/>
          <p:nvPr userDrawn="1"/>
        </p:nvSpPr>
        <p:spPr>
          <a:xfrm>
            <a:off x="3996765" y="985701"/>
            <a:ext cx="3008473" cy="1510782"/>
          </a:xfrm>
          <a:prstGeom prst="roundRect">
            <a:avLst/>
          </a:prstGeom>
          <a:solidFill>
            <a:srgbClr val="DDEFE8"/>
          </a:solidFill>
          <a:ln w="50800">
            <a:solidFill>
              <a:srgbClr val="00AB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defRPr/>
            </a:pPr>
            <a:endParaRPr kumimoji="0" lang="en-US" sz="13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Open Sans Light" panose="020B0306030504020204" pitchFamily="34" charset="0"/>
            </a:endParaRPr>
          </a:p>
        </p:txBody>
      </p:sp>
      <p:sp>
        <p:nvSpPr>
          <p:cNvPr id="75" name="Content Placeholder 6">
            <a:extLst>
              <a:ext uri="{FF2B5EF4-FFF2-40B4-BE49-F238E27FC236}">
                <a16:creationId xmlns:a16="http://schemas.microsoft.com/office/drawing/2014/main" id="{3F57311D-5D09-4133-C1C5-1D944DF85267}"/>
              </a:ext>
            </a:extLst>
          </p:cNvPr>
          <p:cNvSpPr>
            <a:spLocks noGrp="1"/>
          </p:cNvSpPr>
          <p:nvPr>
            <p:ph sz="quarter" idx="14" hasCustomPrompt="1"/>
          </p:nvPr>
        </p:nvSpPr>
        <p:spPr>
          <a:xfrm>
            <a:off x="1029035" y="3381375"/>
            <a:ext cx="2971800" cy="1767033"/>
          </a:xfrm>
        </p:spPr>
        <p:txBody>
          <a:bodyPr/>
          <a:lstStyle>
            <a:lvl1pPr marL="0" indent="0">
              <a:buNone/>
              <a:defRPr/>
            </a:lvl1pPr>
            <a:lvl2pPr>
              <a:defRPr sz="1600">
                <a:solidFill>
                  <a:schemeClr val="tx1"/>
                </a:solidFill>
              </a:defRPr>
            </a:lvl2pPr>
            <a:lvl3pPr>
              <a:defRPr sz="1200"/>
            </a:lvl3pPr>
            <a:lvl4pPr>
              <a:defRPr sz="1200"/>
            </a:lvl4pPr>
            <a:lvl5pPr>
              <a:defRPr sz="1200"/>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76" name="Content Placeholder 6">
            <a:extLst>
              <a:ext uri="{FF2B5EF4-FFF2-40B4-BE49-F238E27FC236}">
                <a16:creationId xmlns:a16="http://schemas.microsoft.com/office/drawing/2014/main" id="{2AB7E8CE-6C5D-09CD-7019-84AA7A812000}"/>
              </a:ext>
            </a:extLst>
          </p:cNvPr>
          <p:cNvSpPr>
            <a:spLocks noGrp="1"/>
          </p:cNvSpPr>
          <p:nvPr>
            <p:ph sz="quarter" idx="21" hasCustomPrompt="1"/>
          </p:nvPr>
        </p:nvSpPr>
        <p:spPr>
          <a:xfrm>
            <a:off x="4136838" y="671723"/>
            <a:ext cx="2776026" cy="1826231"/>
          </a:xfrm>
        </p:spPr>
        <p:txBody>
          <a:bodyPr/>
          <a:lstStyle>
            <a:lvl1pPr marL="0" indent="0">
              <a:buNone/>
              <a:defRPr/>
            </a:lvl1pPr>
            <a:lvl2pPr>
              <a:defRPr sz="1600">
                <a:solidFill>
                  <a:schemeClr val="tx1"/>
                </a:solidFill>
              </a:defRPr>
            </a:lvl2pPr>
            <a:lvl3pPr>
              <a:defRPr sz="1200"/>
            </a:lvl3pPr>
            <a:lvl4pPr>
              <a:defRPr sz="1200"/>
            </a:lvl4pPr>
            <a:lvl5pPr>
              <a:defRPr sz="1200"/>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77" name="Content Placeholder 6">
            <a:extLst>
              <a:ext uri="{FF2B5EF4-FFF2-40B4-BE49-F238E27FC236}">
                <a16:creationId xmlns:a16="http://schemas.microsoft.com/office/drawing/2014/main" id="{2B3E5773-8049-D3DB-40DD-22A56E0568C0}"/>
              </a:ext>
            </a:extLst>
          </p:cNvPr>
          <p:cNvSpPr>
            <a:spLocks noGrp="1"/>
          </p:cNvSpPr>
          <p:nvPr>
            <p:ph sz="quarter" idx="22" hasCustomPrompt="1"/>
          </p:nvPr>
        </p:nvSpPr>
        <p:spPr>
          <a:xfrm>
            <a:off x="6368489" y="2933701"/>
            <a:ext cx="2413301" cy="1826232"/>
          </a:xfrm>
        </p:spPr>
        <p:txBody>
          <a:bodyPr/>
          <a:lstStyle>
            <a:lvl1pPr marL="0" indent="0">
              <a:buNone/>
              <a:defRPr/>
            </a:lvl1pPr>
            <a:lvl2pPr>
              <a:defRPr sz="1600">
                <a:solidFill>
                  <a:schemeClr val="tx1"/>
                </a:solidFill>
              </a:defRPr>
            </a:lvl2pPr>
            <a:lvl3pPr>
              <a:defRPr sz="1200"/>
            </a:lvl3pPr>
            <a:lvl4pPr>
              <a:defRPr sz="1200"/>
            </a:lvl4pPr>
            <a:lvl5pPr>
              <a:defRPr sz="1200"/>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0" name="Rectangle: Rounded Corners 10">
            <a:extLst>
              <a:ext uri="{FF2B5EF4-FFF2-40B4-BE49-F238E27FC236}">
                <a16:creationId xmlns:a16="http://schemas.microsoft.com/office/drawing/2014/main" id="{8BB8A86E-CFE1-0F28-33F7-778B4ED2BF90}"/>
              </a:ext>
            </a:extLst>
          </p:cNvPr>
          <p:cNvSpPr/>
          <p:nvPr userDrawn="1"/>
        </p:nvSpPr>
        <p:spPr>
          <a:xfrm>
            <a:off x="9166035" y="393288"/>
            <a:ext cx="2796720" cy="1235529"/>
          </a:xfrm>
          <a:prstGeom prst="roundRect">
            <a:avLst/>
          </a:prstGeom>
          <a:solidFill>
            <a:srgbClr val="A0DCFF">
              <a:alpha val="45882"/>
            </a:srgbClr>
          </a:solidFill>
          <a:ln w="50800">
            <a:solidFill>
              <a:srgbClr val="00A3E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spcBef>
                <a:spcPts val="600"/>
              </a:spcBef>
              <a:defRPr/>
            </a:pPr>
            <a:endParaRPr kumimoji="0" lang="en-US" sz="13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Open Sans Light" panose="020B0306030504020204" pitchFamily="34" charset="0"/>
            </a:endParaRPr>
          </a:p>
        </p:txBody>
      </p:sp>
      <p:sp>
        <p:nvSpPr>
          <p:cNvPr id="78" name="Content Placeholder 6">
            <a:extLst>
              <a:ext uri="{FF2B5EF4-FFF2-40B4-BE49-F238E27FC236}">
                <a16:creationId xmlns:a16="http://schemas.microsoft.com/office/drawing/2014/main" id="{14A8F8F8-A8F3-DA7B-F919-5E4F511A02F9}"/>
              </a:ext>
            </a:extLst>
          </p:cNvPr>
          <p:cNvSpPr>
            <a:spLocks noGrp="1"/>
          </p:cNvSpPr>
          <p:nvPr>
            <p:ph sz="quarter" idx="23" hasCustomPrompt="1"/>
          </p:nvPr>
        </p:nvSpPr>
        <p:spPr>
          <a:xfrm>
            <a:off x="9316470" y="92755"/>
            <a:ext cx="2513953" cy="1534128"/>
          </a:xfrm>
        </p:spPr>
        <p:txBody>
          <a:bodyPr/>
          <a:lstStyle>
            <a:lvl1pPr marL="0" indent="0">
              <a:buNone/>
              <a:defRPr/>
            </a:lvl1pPr>
            <a:lvl2pPr>
              <a:defRPr sz="1600">
                <a:solidFill>
                  <a:schemeClr val="tx1"/>
                </a:solidFill>
              </a:defRPr>
            </a:lvl2pPr>
            <a:lvl3pPr>
              <a:defRPr sz="1200"/>
            </a:lvl3pPr>
            <a:lvl4pPr>
              <a:defRPr sz="1200"/>
            </a:lvl4pPr>
            <a:lvl5pPr>
              <a:defRPr sz="1200"/>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2" name="TextBox 1">
            <a:extLst>
              <a:ext uri="{FF2B5EF4-FFF2-40B4-BE49-F238E27FC236}">
                <a16:creationId xmlns:a16="http://schemas.microsoft.com/office/drawing/2014/main" id="{68D5DCA7-70AA-153B-A167-EDC104153191}"/>
              </a:ext>
            </a:extLst>
          </p:cNvPr>
          <p:cNvSpPr txBox="1"/>
          <p:nvPr userDrawn="1"/>
        </p:nvSpPr>
        <p:spPr>
          <a:xfrm>
            <a:off x="9818297" y="172023"/>
            <a:ext cx="1872051" cy="276999"/>
          </a:xfrm>
          <a:prstGeom prst="rect">
            <a:avLst/>
          </a:prstGeom>
          <a:noFill/>
          <a:ln w="28575">
            <a:noFill/>
          </a:ln>
        </p:spPr>
        <p:txBody>
          <a:bodyPr wrap="none" lIns="0" tIns="0" rIns="0" bIns="0" rtlCol="0">
            <a:spAutoFit/>
          </a:bodyPr>
          <a:lstStyle/>
          <a:p>
            <a:pPr marL="0" indent="0">
              <a:spcBef>
                <a:spcPts val="600"/>
              </a:spcBef>
              <a:buSzPct val="100000"/>
              <a:buFont typeface="Arial"/>
              <a:buNone/>
            </a:pPr>
            <a:r>
              <a:rPr lang="en-US" b="1" dirty="0">
                <a:solidFill>
                  <a:srgbClr val="FF0000"/>
                </a:solidFill>
              </a:rPr>
              <a:t>AI Generated Draft</a:t>
            </a:r>
          </a:p>
        </p:txBody>
      </p:sp>
    </p:spTree>
    <p:extLst>
      <p:ext uri="{BB962C8B-B14F-4D97-AF65-F5344CB8AC3E}">
        <p14:creationId xmlns:p14="http://schemas.microsoft.com/office/powerpoint/2010/main" val="70263028"/>
      </p:ext>
    </p:extLst>
  </p:cSld>
  <p:clrMapOvr>
    <a:masterClrMapping/>
  </p:clrMapOvr>
  <p:transition>
    <p:fade/>
  </p:transition>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9"/>
            </p:custDataLst>
            <p:extLst>
              <p:ext uri="{D42A27DB-BD31-4B8C-83A1-F6EECF244321}">
                <p14:modId xmlns:p14="http://schemas.microsoft.com/office/powerpoint/2010/main" val="237804889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0" imgW="270" imgH="270" progId="TCLayout.ActiveDocument.1">
                  <p:embed/>
                </p:oleObj>
              </mc:Choice>
              <mc:Fallback>
                <p:oleObj name="think-cell Slide" r:id="rId30" imgW="270" imgH="270" progId="TCLayout.ActiveDocument.1">
                  <p:embed/>
                  <p:pic>
                    <p:nvPicPr>
                      <p:cNvPr id="4" name="Object 3" hidden="1"/>
                      <p:cNvPicPr/>
                      <p:nvPr/>
                    </p:nvPicPr>
                    <p:blipFill>
                      <a:blip r:embed="rId31"/>
                      <a:stretch>
                        <a:fillRect/>
                      </a:stretch>
                    </p:blipFill>
                    <p:spPr>
                      <a:xfrm>
                        <a:off x="2118" y="1589"/>
                        <a:ext cx="2116" cy="1587"/>
                      </a:xfrm>
                      <a:prstGeom prst="rect">
                        <a:avLst/>
                      </a:prstGeom>
                    </p:spPr>
                  </p:pic>
                </p:oleObj>
              </mc:Fallback>
            </mc:AlternateContent>
          </a:graphicData>
        </a:graphic>
      </p:graphicFrame>
      <p:sp>
        <p:nvSpPr>
          <p:cNvPr id="19" name="Text Placeholder 18"/>
          <p:cNvSpPr>
            <a:spLocks noGrp="1"/>
          </p:cNvSpPr>
          <p:nvPr>
            <p:ph type="body" idx="1"/>
          </p:nvPr>
        </p:nvSpPr>
        <p:spPr>
          <a:xfrm>
            <a:off x="501650" y="1685167"/>
            <a:ext cx="11188700" cy="4696583"/>
          </a:xfrm>
          <a:prstGeom prst="rect">
            <a:avLst/>
          </a:prstGeom>
        </p:spPr>
        <p:txBody>
          <a:bodyPr vert="horz" lIns="0" tIns="0" rIns="0" bIns="0" rtlCol="0">
            <a:normAutofit/>
          </a:bodyPr>
          <a:lstStyle/>
          <a:p>
            <a:pPr lvl="0"/>
            <a:r>
              <a:rPr lang="en-US" noProof="0" dirty="0"/>
              <a:t>Second level</a:t>
            </a:r>
          </a:p>
          <a:p>
            <a:pPr lvl="0"/>
            <a:endParaRPr lang="en-US" noProof="0" dirty="0"/>
          </a:p>
          <a:p>
            <a:pPr lvl="2"/>
            <a:r>
              <a:rPr lang="en-US" noProof="0" dirty="0"/>
              <a:t>Third level</a:t>
            </a:r>
          </a:p>
          <a:p>
            <a:pPr lvl="3"/>
            <a:r>
              <a:rPr lang="en-US" noProof="0" dirty="0"/>
              <a:t>Fourth level</a:t>
            </a:r>
          </a:p>
          <a:p>
            <a:pPr lvl="4"/>
            <a:r>
              <a:rPr lang="en-US" noProof="0" dirty="0"/>
              <a:t>Fifth level</a:t>
            </a:r>
          </a:p>
        </p:txBody>
      </p:sp>
      <p:sp>
        <p:nvSpPr>
          <p:cNvPr id="9" name="Rectangle 8">
            <a:hlinkClick r:id="" action="ppaction://noaction"/>
            <a:extLst>
              <a:ext uri="{FF2B5EF4-FFF2-40B4-BE49-F238E27FC236}">
                <a16:creationId xmlns:a16="http://schemas.microsoft.com/office/drawing/2014/main" id="{C2320166-2AED-4CD3-A893-D94919B09F44}"/>
              </a:ext>
            </a:extLst>
          </p:cNvPr>
          <p:cNvSpPr/>
          <p:nvPr userDrawn="1"/>
        </p:nvSpPr>
        <p:spPr bwMode="gray">
          <a:xfrm>
            <a:off x="11287631" y="1017588"/>
            <a:ext cx="712282" cy="47635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Aptos" panose="020B0004020202020204" pitchFamily="34" charset="0"/>
            </a:endParaRPr>
          </a:p>
        </p:txBody>
      </p:sp>
      <p:sp>
        <p:nvSpPr>
          <p:cNvPr id="10" name="Rectangle 9">
            <a:hlinkClick r:id="" action="ppaction://noaction"/>
            <a:extLst>
              <a:ext uri="{FF2B5EF4-FFF2-40B4-BE49-F238E27FC236}">
                <a16:creationId xmlns:a16="http://schemas.microsoft.com/office/drawing/2014/main" id="{E5C10B32-E2D1-4E1E-AF8B-C1CB0642773B}"/>
              </a:ext>
            </a:extLst>
          </p:cNvPr>
          <p:cNvSpPr/>
          <p:nvPr userDrawn="1"/>
        </p:nvSpPr>
        <p:spPr bwMode="gray">
          <a:xfrm>
            <a:off x="11287631" y="1618249"/>
            <a:ext cx="712282" cy="47635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Aptos" panose="020B0004020202020204" pitchFamily="34" charset="0"/>
            </a:endParaRPr>
          </a:p>
        </p:txBody>
      </p:sp>
      <p:sp>
        <p:nvSpPr>
          <p:cNvPr id="11" name="Rectangle 10">
            <a:hlinkClick r:id="" action="ppaction://noaction"/>
            <a:extLst>
              <a:ext uri="{FF2B5EF4-FFF2-40B4-BE49-F238E27FC236}">
                <a16:creationId xmlns:a16="http://schemas.microsoft.com/office/drawing/2014/main" id="{77270737-F2AF-4A5D-B2EE-60D8BD21B026}"/>
              </a:ext>
            </a:extLst>
          </p:cNvPr>
          <p:cNvSpPr/>
          <p:nvPr userDrawn="1"/>
        </p:nvSpPr>
        <p:spPr bwMode="gray">
          <a:xfrm>
            <a:off x="11287631" y="2198729"/>
            <a:ext cx="712282" cy="47635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Aptos" panose="020B0004020202020204" pitchFamily="34" charset="0"/>
            </a:endParaRPr>
          </a:p>
        </p:txBody>
      </p:sp>
      <p:sp>
        <p:nvSpPr>
          <p:cNvPr id="12" name="Rectangle 11">
            <a:hlinkClick r:id="" action="ppaction://noaction"/>
            <a:extLst>
              <a:ext uri="{FF2B5EF4-FFF2-40B4-BE49-F238E27FC236}">
                <a16:creationId xmlns:a16="http://schemas.microsoft.com/office/drawing/2014/main" id="{B2DA55B8-7FB5-415F-98A3-9E2DD1DAAA41}"/>
              </a:ext>
            </a:extLst>
          </p:cNvPr>
          <p:cNvSpPr/>
          <p:nvPr userDrawn="1"/>
        </p:nvSpPr>
        <p:spPr bwMode="gray">
          <a:xfrm>
            <a:off x="11287631" y="2812509"/>
            <a:ext cx="712282" cy="47635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Aptos" panose="020B0004020202020204" pitchFamily="34" charset="0"/>
            </a:endParaRPr>
          </a:p>
        </p:txBody>
      </p:sp>
      <p:sp>
        <p:nvSpPr>
          <p:cNvPr id="15" name="TextBox 14">
            <a:extLst>
              <a:ext uri="{FF2B5EF4-FFF2-40B4-BE49-F238E27FC236}">
                <a16:creationId xmlns:a16="http://schemas.microsoft.com/office/drawing/2014/main" id="{395F6546-8B6E-49C6-9457-A94531976ED1}"/>
              </a:ext>
            </a:extLst>
          </p:cNvPr>
          <p:cNvSpPr txBox="1"/>
          <p:nvPr userDrawn="1"/>
        </p:nvSpPr>
        <p:spPr>
          <a:xfrm>
            <a:off x="11382377" y="6477001"/>
            <a:ext cx="307975" cy="123111"/>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800" noProof="0" smtClean="0">
                <a:solidFill>
                  <a:schemeClr val="tx1"/>
                </a:solidFill>
                <a:latin typeface="Aptos" panose="020B0004020202020204" pitchFamily="34" charset="0"/>
                <a:cs typeface="Calibri" panose="020F0502020204030204" pitchFamily="34" charset="0"/>
              </a:rPr>
              <a:pPr marL="0" indent="0" algn="r">
                <a:spcBef>
                  <a:spcPts val="600"/>
                </a:spcBef>
                <a:buSzPct val="100000"/>
                <a:buFont typeface="Arial"/>
                <a:buNone/>
              </a:pPr>
              <a:t>‹#›</a:t>
            </a:fld>
            <a:endParaRPr lang="en-US" sz="800" noProof="0" dirty="0">
              <a:solidFill>
                <a:schemeClr val="tx1"/>
              </a:solidFill>
              <a:latin typeface="Aptos" panose="020B0004020202020204" pitchFamily="34" charset="0"/>
              <a:cs typeface="Calibri" panose="020F0502020204030204" pitchFamily="34" charset="0"/>
            </a:endParaRPr>
          </a:p>
        </p:txBody>
      </p:sp>
      <p:sp>
        <p:nvSpPr>
          <p:cNvPr id="17" name="Title Placeholder 1">
            <a:extLst>
              <a:ext uri="{FF2B5EF4-FFF2-40B4-BE49-F238E27FC236}">
                <a16:creationId xmlns:a16="http://schemas.microsoft.com/office/drawing/2014/main" id="{7EE45B84-5546-410E-BFA9-0EE3C4CCC877}"/>
              </a:ext>
            </a:extLst>
          </p:cNvPr>
          <p:cNvSpPr>
            <a:spLocks noGrp="1"/>
          </p:cNvSpPr>
          <p:nvPr>
            <p:ph type="title"/>
          </p:nvPr>
        </p:nvSpPr>
        <p:spPr bwMode="gray">
          <a:xfrm>
            <a:off x="501649" y="304800"/>
            <a:ext cx="11281285" cy="340136"/>
          </a:xfrm>
          <a:prstGeom prst="rect">
            <a:avLst/>
          </a:prstGeom>
        </p:spPr>
        <p:txBody>
          <a:bodyPr vert="horz" lIns="0" tIns="0" rIns="0" bIns="0" rtlCol="0" anchor="t" anchorCtr="0">
            <a:noAutofit/>
          </a:bodyPr>
          <a:lstStyle/>
          <a:p>
            <a:r>
              <a:rPr lang="en-US" noProof="0" dirty="0"/>
              <a:t>Click to edit Master title style</a:t>
            </a:r>
          </a:p>
        </p:txBody>
      </p:sp>
    </p:spTree>
    <p:extLst>
      <p:ext uri="{BB962C8B-B14F-4D97-AF65-F5344CB8AC3E}">
        <p14:creationId xmlns:p14="http://schemas.microsoft.com/office/powerpoint/2010/main" val="2871536837"/>
      </p:ext>
    </p:extLst>
  </p:cSld>
  <p:clrMap bg1="lt1" tx1="dk1" bg2="lt2" tx2="dk2" accent1="accent1" accent2="accent2" accent3="accent3" accent4="accent4" accent5="accent5" accent6="accent6" hlink="hlink" folHlink="folHlink"/>
  <p:sldLayoutIdLst>
    <p:sldLayoutId id="2147484241" r:id="rId1"/>
    <p:sldLayoutId id="2147484240" r:id="rId2"/>
    <p:sldLayoutId id="2147484242" r:id="rId3"/>
    <p:sldLayoutId id="2147484243" r:id="rId4"/>
    <p:sldLayoutId id="2147484244" r:id="rId5"/>
    <p:sldLayoutId id="2147484245" r:id="rId6"/>
    <p:sldLayoutId id="2147484246" r:id="rId7"/>
    <p:sldLayoutId id="2147484247" r:id="rId8"/>
    <p:sldLayoutId id="2147484248" r:id="rId9"/>
    <p:sldLayoutId id="2147484249" r:id="rId10"/>
    <p:sldLayoutId id="2147484250" r:id="rId11"/>
    <p:sldLayoutId id="2147484251" r:id="rId12"/>
    <p:sldLayoutId id="2147484252" r:id="rId13"/>
    <p:sldLayoutId id="2147484253" r:id="rId14"/>
    <p:sldLayoutId id="2147484259" r:id="rId15"/>
    <p:sldLayoutId id="2147484260" r:id="rId16"/>
    <p:sldLayoutId id="2147484254" r:id="rId17"/>
    <p:sldLayoutId id="2147484255" r:id="rId18"/>
    <p:sldLayoutId id="2147484256" r:id="rId19"/>
    <p:sldLayoutId id="2147484257" r:id="rId20"/>
    <p:sldLayoutId id="2147484258" r:id="rId21"/>
    <p:sldLayoutId id="2147484261" r:id="rId22"/>
    <p:sldLayoutId id="2147484262" r:id="rId23"/>
    <p:sldLayoutId id="2147484263" r:id="rId24"/>
    <p:sldLayoutId id="2147484264" r:id="rId25"/>
    <p:sldLayoutId id="2147484265" r:id="rId26"/>
    <p:sldLayoutId id="2147484266" r:id="rId27"/>
  </p:sldLayoutIdLst>
  <p:transition>
    <p:fade/>
  </p:transition>
  <p:hf hdr="0" dt="0"/>
  <p:txStyles>
    <p:titleStyle>
      <a:lvl1pPr algn="l" defTabSz="914400" rtl="0" eaLnBrk="1" latinLnBrk="0" hangingPunct="1">
        <a:spcBef>
          <a:spcPct val="0"/>
        </a:spcBef>
        <a:buNone/>
        <a:defRPr sz="2100" kern="1200">
          <a:solidFill>
            <a:schemeClr val="tx1"/>
          </a:solidFill>
          <a:latin typeface="Aptos" panose="020B0004020202020204" pitchFamily="34" charset="0"/>
          <a:ea typeface="+mj-ea"/>
          <a:cs typeface="Calibri Light" panose="020F0302020204030204" pitchFamily="34" charset="0"/>
        </a:defRPr>
      </a:lvl1pPr>
    </p:titleStyle>
    <p:bodyStyle>
      <a:lvl1pPr marL="285750" indent="-285750" algn="l" defTabSz="914400" rtl="0" eaLnBrk="1" latinLnBrk="0" hangingPunct="1">
        <a:spcBef>
          <a:spcPts val="0"/>
        </a:spcBef>
        <a:spcAft>
          <a:spcPts val="1000"/>
        </a:spcAft>
        <a:buSzPct val="100000"/>
        <a:buFont typeface="Arial" panose="020B0604020202020204" pitchFamily="34" charset="0"/>
        <a:buChar char="•"/>
        <a:defRPr sz="1400" b="0" kern="1200">
          <a:solidFill>
            <a:schemeClr val="tx1"/>
          </a:solidFill>
          <a:latin typeface="Aptos" panose="020B0004020202020204" pitchFamily="34" charset="0"/>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panose="020B0604020202020204" pitchFamily="34" charset="0"/>
        <a:buNone/>
        <a:defRPr lang="en-US" sz="14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Aptos" panose="020B0004020202020204" pitchFamily="34" charset="0"/>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Aptos" panose="020B0004020202020204" pitchFamily="34" charset="0"/>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Aptos" panose="020B0004020202020204" pitchFamily="34" charset="0"/>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20">
          <p15:clr>
            <a:srgbClr val="F26B43"/>
          </p15:clr>
        </p15:guide>
        <p15:guide id="8" orient="horz" pos="4080">
          <p15:clr>
            <a:srgbClr val="F26B43"/>
          </p15:clr>
        </p15:guide>
        <p15:guide id="27" pos="7368">
          <p15:clr>
            <a:srgbClr val="F26B43"/>
          </p15:clr>
        </p15:guide>
        <p15:guide id="51" orient="horz" pos="4081" userDrawn="1">
          <p15:clr>
            <a:srgbClr val="A4A3A4"/>
          </p15:clr>
        </p15:guide>
        <p15:guide id="52" pos="312" userDrawn="1">
          <p15:clr>
            <a:srgbClr val="F26B43"/>
          </p15:clr>
        </p15:guide>
        <p15:guide id="53" pos="1392" userDrawn="1">
          <p15:clr>
            <a:srgbClr val="F26B43"/>
          </p15:clr>
        </p15:guide>
        <p15:guide id="54" pos="1512" userDrawn="1">
          <p15:clr>
            <a:srgbClr val="F26B43"/>
          </p15:clr>
        </p15:guide>
        <p15:guide id="55" pos="2592" userDrawn="1">
          <p15:clr>
            <a:srgbClr val="F26B43"/>
          </p15:clr>
        </p15:guide>
        <p15:guide id="56" pos="2712" userDrawn="1">
          <p15:clr>
            <a:srgbClr val="F26B43"/>
          </p15:clr>
        </p15:guide>
        <p15:guide id="57" pos="3840" userDrawn="1">
          <p15:clr>
            <a:srgbClr val="F26B43"/>
          </p15:clr>
        </p15:guide>
        <p15:guide id="58" pos="3768" userDrawn="1">
          <p15:clr>
            <a:srgbClr val="F26B43"/>
          </p15:clr>
        </p15:guide>
        <p15:guide id="59" pos="3912" userDrawn="1">
          <p15:clr>
            <a:srgbClr val="F26B43"/>
          </p15:clr>
        </p15:guide>
        <p15:guide id="60" pos="5112" userDrawn="1">
          <p15:clr>
            <a:srgbClr val="F26B43"/>
          </p15:clr>
        </p15:guide>
        <p15:guide id="61" pos="6168" userDrawn="1">
          <p15:clr>
            <a:srgbClr val="F26B43"/>
          </p15:clr>
        </p15:guide>
        <p15:guide id="62" pos="6288" userDrawn="1">
          <p15:clr>
            <a:srgbClr val="F26B43"/>
          </p15:clr>
        </p15:guide>
        <p15:guide id="63" pos="4968" userDrawn="1">
          <p15:clr>
            <a:srgbClr val="F26B43"/>
          </p15:clr>
        </p15:guide>
        <p15:guide id="64" orient="horz" pos="192" userDrawn="1">
          <p15:clr>
            <a:srgbClr val="F26B43"/>
          </p15:clr>
        </p15:guide>
        <p15:guide id="65" orient="horz" pos="1056" userDrawn="1">
          <p15:clr>
            <a:srgbClr val="F26B43"/>
          </p15:clr>
        </p15:guide>
        <p15:guide id="66" orient="horz" pos="2232" userDrawn="1">
          <p15:clr>
            <a:srgbClr val="F26B43"/>
          </p15:clr>
        </p15:guide>
        <p15:guide id="67" orient="horz" pos="40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t>Executive Summary</a:t>
            </a:r>
          </a:p>
        </p:txBody>
      </p:sp>
      <p:sp>
        <p:nvSpPr>
          <p:cNvPr id="3" name="Text Placeholder 2"/>
          <p:cNvSpPr>
            <a:spLocks noGrp="1"/>
          </p:cNvSpPr>
          <p:nvPr>
            <p:ph type="body" sz="quarter" idx="10"/>
          </p:nvPr>
        </p:nvSpPr>
        <p:spPr/>
        <p:txBody>
          <a:bodyPr/>
          <a:lstStyle/>
          <a:p>
            <a:r>
              <a:t>Research Agent Deck</a:t>
            </a:r>
          </a:p>
          <a:p>
            <a:r>
              <a:t>Sep 12, 2025</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3. Industry Outlooks</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t>Innovations, Challenges, and Future Prospects</a:t>
            </a:r>
          </a:p>
        </p:txBody>
      </p:sp>
      <p:sp>
        <p:nvSpPr>
          <p:cNvPr id="3" name="Title 2"/>
          <p:cNvSpPr>
            <a:spLocks noGrp="1"/>
          </p:cNvSpPr>
          <p:nvPr>
            <p:ph type="title"/>
          </p:nvPr>
        </p:nvSpPr>
        <p:spPr/>
        <p:txBody>
          <a:bodyPr/>
          <a:lstStyle/>
          <a:p>
            <a:r>
              <a:t>3.1 Construction Industry</a:t>
            </a:r>
          </a:p>
        </p:txBody>
      </p:sp>
      <p:sp>
        <p:nvSpPr>
          <p:cNvPr id="4" name="Content Placeholder 3"/>
          <p:cNvSpPr>
            <a:spLocks noGrp="1"/>
          </p:cNvSpPr>
          <p:nvPr>
            <p:ph sz="quarter" idx="14"/>
          </p:nvPr>
        </p:nvSpPr>
        <p:spPr/>
        <p:txBody>
          <a:bodyPr/>
          <a:lstStyle/>
          <a:p>
            <a:endParaRPr/>
          </a:p>
          <a:p>
            <a:pPr lvl="1"/>
            <a:r>
              <a:t>Technological Transformations</a:t>
            </a:r>
          </a:p>
          <a:p>
            <a:pPr lvl="2"/>
            <a:r>
              <a:t>AI and automation enhance efficiency and reduce human error in construction.</a:t>
            </a:r>
          </a:p>
          <a:p>
            <a:pPr lvl="2"/>
            <a:r>
              <a:t>Advanced data analytics optimize project schedules, supply chains, and safety protocols.</a:t>
            </a:r>
          </a:p>
        </p:txBody>
      </p:sp>
      <p:sp>
        <p:nvSpPr>
          <p:cNvPr id="5" name="Content Placeholder 4"/>
          <p:cNvSpPr>
            <a:spLocks noGrp="1"/>
          </p:cNvSpPr>
          <p:nvPr>
            <p:ph sz="quarter" idx="21"/>
          </p:nvPr>
        </p:nvSpPr>
        <p:spPr/>
        <p:txBody>
          <a:bodyPr/>
          <a:lstStyle/>
          <a:p>
            <a:endParaRPr/>
          </a:p>
          <a:p>
            <a:pPr lvl="1"/>
            <a:r>
              <a:t>Current Challenges</a:t>
            </a:r>
          </a:p>
          <a:p>
            <a:pPr lvl="2"/>
            <a:r>
              <a:t>Labor shortages persist due to an aging workforce and limited new entrants.</a:t>
            </a:r>
          </a:p>
          <a:p>
            <a:pPr lvl="2"/>
            <a:r>
              <a:t>Economic fluctuations impact project budgets and timelines, complicating management.</a:t>
            </a:r>
          </a:p>
        </p:txBody>
      </p:sp>
      <p:sp>
        <p:nvSpPr>
          <p:cNvPr id="6" name="Content Placeholder 5"/>
          <p:cNvSpPr>
            <a:spLocks noGrp="1"/>
          </p:cNvSpPr>
          <p:nvPr>
            <p:ph sz="quarter" idx="22"/>
          </p:nvPr>
        </p:nvSpPr>
        <p:spPr/>
        <p:txBody>
          <a:bodyPr/>
          <a:lstStyle/>
          <a:p>
            <a:endParaRPr/>
          </a:p>
          <a:p>
            <a:pPr lvl="1"/>
            <a:r>
              <a:t>Future Outlook</a:t>
            </a:r>
          </a:p>
          <a:p>
            <a:pPr lvl="2"/>
            <a:r>
              <a:t>Firms must adapt to technological trends and improve sustainability practices.</a:t>
            </a:r>
          </a:p>
          <a:p>
            <a:pPr lvl="2"/>
            <a:r>
              <a:t>Collaboration across sectors will foster a skilled workforce for future growth.</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t>Technological Winds Shaping Logistics and Transportation</a:t>
            </a:r>
          </a:p>
        </p:txBody>
      </p:sp>
      <p:sp>
        <p:nvSpPr>
          <p:cNvPr id="3" name="Title 2"/>
          <p:cNvSpPr>
            <a:spLocks noGrp="1"/>
          </p:cNvSpPr>
          <p:nvPr>
            <p:ph type="title"/>
          </p:nvPr>
        </p:nvSpPr>
        <p:spPr/>
        <p:txBody>
          <a:bodyPr/>
          <a:lstStyle/>
          <a:p>
            <a:r>
              <a:t>3.2 Freight &amp; Movement of Goods</a:t>
            </a:r>
          </a:p>
        </p:txBody>
      </p:sp>
      <p:sp>
        <p:nvSpPr>
          <p:cNvPr id="4" name="Content Placeholder 3"/>
          <p:cNvSpPr>
            <a:spLocks noGrp="1"/>
          </p:cNvSpPr>
          <p:nvPr>
            <p:ph sz="quarter" idx="14"/>
          </p:nvPr>
        </p:nvSpPr>
        <p:spPr/>
        <p:txBody>
          <a:bodyPr/>
          <a:lstStyle/>
          <a:p>
            <a:endParaRPr/>
          </a:p>
          <a:p>
            <a:pPr lvl="1"/>
            <a:r>
              <a:t>Technological Advancements</a:t>
            </a:r>
          </a:p>
          <a:p>
            <a:pPr lvl="2"/>
            <a:r>
              <a:t>Automation and AI are key to optimizing supply chains and cutting costs.</a:t>
            </a:r>
          </a:p>
          <a:p>
            <a:pPr lvl="2"/>
            <a:r>
              <a:t>AI enhances predictive analytics, improving demand forecasting in logistics.</a:t>
            </a:r>
          </a:p>
          <a:p>
            <a:pPr lvl="2"/>
            <a:r>
              <a:t>Smart port technologies streamline operations and manage cargo effectively.</a:t>
            </a:r>
          </a:p>
        </p:txBody>
      </p:sp>
      <p:sp>
        <p:nvSpPr>
          <p:cNvPr id="5" name="Content Placeholder 4"/>
          <p:cNvSpPr>
            <a:spLocks noGrp="1"/>
          </p:cNvSpPr>
          <p:nvPr>
            <p:ph sz="quarter" idx="21"/>
          </p:nvPr>
        </p:nvSpPr>
        <p:spPr/>
        <p:txBody>
          <a:bodyPr/>
          <a:lstStyle/>
          <a:p>
            <a:endParaRPr/>
          </a:p>
          <a:p>
            <a:pPr lvl="1"/>
            <a:r>
              <a:t>Sustainable Practices</a:t>
            </a:r>
          </a:p>
          <a:p>
            <a:pPr lvl="2"/>
            <a:r>
              <a:t>Green logistics solutions are being adopted to reduce environmental impact.</a:t>
            </a:r>
          </a:p>
          <a:p>
            <a:pPr lvl="2"/>
            <a:r>
              <a:t>Companies are focusing on sustainable practices to meet new regulatory requirements.</a:t>
            </a:r>
          </a:p>
          <a:p>
            <a:pPr lvl="2"/>
            <a:r>
              <a:t>There's an increasing focus on carbon footprint minimization in freight operations.</a:t>
            </a:r>
          </a:p>
        </p:txBody>
      </p:sp>
      <p:sp>
        <p:nvSpPr>
          <p:cNvPr id="6" name="Content Placeholder 5"/>
          <p:cNvSpPr>
            <a:spLocks noGrp="1"/>
          </p:cNvSpPr>
          <p:nvPr>
            <p:ph sz="quarter" idx="22"/>
          </p:nvPr>
        </p:nvSpPr>
        <p:spPr/>
        <p:txBody>
          <a:bodyPr/>
          <a:lstStyle/>
          <a:p>
            <a:endParaRPr/>
          </a:p>
          <a:p>
            <a:pPr lvl="1"/>
            <a:r>
              <a:t>Adoption of Innovative Transport</a:t>
            </a:r>
          </a:p>
          <a:p>
            <a:pPr lvl="2"/>
            <a:r>
              <a:t>Automated vehicles and drones promise faster, more efficient deliveries.</a:t>
            </a:r>
          </a:p>
          <a:p>
            <a:pPr lvl="2"/>
            <a:r>
              <a:t>These technologies reduce human error and extend operational hours.</a:t>
            </a:r>
          </a:p>
          <a:p>
            <a:pPr lvl="2"/>
            <a:r>
              <a:t>Investment in digital tech is rising to cater to ecommerce and trade demands.</a:t>
            </a:r>
          </a:p>
        </p:txBody>
      </p:sp>
      <p:sp>
        <p:nvSpPr>
          <p:cNvPr id="7" name="Content Placeholder 6"/>
          <p:cNvSpPr>
            <a:spLocks noGrp="1"/>
          </p:cNvSpPr>
          <p:nvPr>
            <p:ph sz="quarter" idx="23"/>
          </p:nvPr>
        </p:nvSpPr>
        <p:spPr/>
        <p:txBody>
          <a:bodyPr/>
          <a:lstStyle/>
          <a:p>
            <a:endParaRPr/>
          </a:p>
          <a:p>
            <a:pPr lvl="1"/>
            <a:r>
              <a:t>Interconnected Ecosystem</a:t>
            </a:r>
          </a:p>
          <a:p>
            <a:pPr lvl="2"/>
            <a:r>
              <a:t>Real-time data and machine learning form the freight transport's future.</a:t>
            </a:r>
          </a:p>
          <a:p>
            <a:pPr lvl="2"/>
            <a:r>
              <a:t>Interconnectivity improves both efficiency and customer service in logistics.</a:t>
            </a:r>
          </a:p>
          <a:p>
            <a:pPr lvl="2"/>
            <a:r>
              <a:t>The freight sector is evolving towards a more integrated global network.</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t>Key Insights into Sectors Through Detailed Reports</a:t>
            </a:r>
          </a:p>
        </p:txBody>
      </p:sp>
      <p:sp>
        <p:nvSpPr>
          <p:cNvPr id="3" name="Title 2"/>
          <p:cNvSpPr>
            <a:spLocks noGrp="1"/>
          </p:cNvSpPr>
          <p:nvPr>
            <p:ph type="title"/>
          </p:nvPr>
        </p:nvSpPr>
        <p:spPr/>
        <p:txBody>
          <a:bodyPr/>
          <a:lstStyle/>
          <a:p>
            <a:r>
              <a:t>3.3 Market Reports &amp; Industry Data</a:t>
            </a:r>
          </a:p>
        </p:txBody>
      </p:sp>
      <p:sp>
        <p:nvSpPr>
          <p:cNvPr id="4" name="Content Placeholder 3"/>
          <p:cNvSpPr>
            <a:spLocks noGrp="1"/>
          </p:cNvSpPr>
          <p:nvPr>
            <p:ph sz="quarter" idx="23"/>
          </p:nvPr>
        </p:nvSpPr>
        <p:spPr/>
        <p:txBody>
          <a:bodyPr/>
          <a:lstStyle/>
          <a:p>
            <a:endParaRPr/>
          </a:p>
          <a:p>
            <a:pPr lvl="1"/>
            <a:r>
              <a:t>Tech Industry Advancements</a:t>
            </a:r>
          </a:p>
          <a:p>
            <a:pPr lvl="2"/>
            <a:r>
              <a:t>The 'Tech Trends 2025' report highlights pivotal technology investments driving industry advantages.</a:t>
            </a:r>
          </a:p>
          <a:p>
            <a:pPr lvl="2"/>
            <a:r>
              <a:t>Digital transformation and AI integration showcase significant advancements across sectors like logistics.</a:t>
            </a:r>
          </a:p>
          <a:p>
            <a:pPr lvl="2"/>
            <a:r>
              <a:t>Understanding tech undercurrents is crucial for sectors like warehousing and logistics.</a:t>
            </a:r>
          </a:p>
        </p:txBody>
      </p:sp>
      <p:sp>
        <p:nvSpPr>
          <p:cNvPr id="5" name="Content Placeholder 4"/>
          <p:cNvSpPr>
            <a:spLocks noGrp="1"/>
          </p:cNvSpPr>
          <p:nvPr>
            <p:ph sz="quarter" idx="24"/>
          </p:nvPr>
        </p:nvSpPr>
        <p:spPr/>
        <p:txBody>
          <a:bodyPr/>
          <a:lstStyle/>
          <a:p>
            <a:endParaRPr/>
          </a:p>
          <a:p>
            <a:pPr lvl="1"/>
            <a:r>
              <a:t>Construction and Airlines Sectors</a:t>
            </a:r>
          </a:p>
          <a:p>
            <a:pPr lvl="2"/>
            <a:r>
              <a:t>The 'Construction in the US Industry Report' anticipates sector growth from tech adoption.</a:t>
            </a:r>
          </a:p>
          <a:p>
            <a:pPr lvl="2"/>
            <a:r>
              <a:t>Digital tools in the 'Domestic Airlines in the US Industry Report' enhance operations and customer experiences.</a:t>
            </a:r>
          </a:p>
          <a:p>
            <a:pPr lvl="2"/>
            <a:r>
              <a:t>Both construction and airlines exhibit impacts of market demands and technological trends.</a:t>
            </a:r>
          </a:p>
        </p:txBody>
      </p:sp>
      <p:sp>
        <p:nvSpPr>
          <p:cNvPr id="6" name="Content Placeholder 5"/>
          <p:cNvSpPr>
            <a:spLocks noGrp="1"/>
          </p:cNvSpPr>
          <p:nvPr>
            <p:ph sz="quarter" idx="25"/>
          </p:nvPr>
        </p:nvSpPr>
        <p:spPr/>
        <p:txBody>
          <a:bodyPr/>
          <a:lstStyle/>
          <a:p>
            <a:endParaRPr/>
          </a:p>
          <a:p>
            <a:pPr lvl="1"/>
            <a:r>
              <a:t>AI and Future Market Opportunities</a:t>
            </a:r>
          </a:p>
          <a:p>
            <a:pPr lvl="2"/>
            <a:r>
              <a:t>AI in Warehousing Market reports project growth to surpass USD 70 billion.</a:t>
            </a:r>
          </a:p>
          <a:p>
            <a:pPr lvl="2"/>
            <a:r>
              <a:t>AI plays a critical role in streamlining operations and enhancing efficiency.</a:t>
            </a:r>
          </a:p>
          <a:p>
            <a:pPr lvl="2"/>
            <a:r>
              <a:t>These projections provide a roadmap for future technological investments.</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4. Bridging Communication Gaps</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t>Barriers in Understanding Complex Technologies</a:t>
            </a:r>
          </a:p>
        </p:txBody>
      </p:sp>
      <p:sp>
        <p:nvSpPr>
          <p:cNvPr id="3" name="Title 2"/>
          <p:cNvSpPr>
            <a:spLocks noGrp="1"/>
          </p:cNvSpPr>
          <p:nvPr>
            <p:ph type="title"/>
          </p:nvPr>
        </p:nvSpPr>
        <p:spPr/>
        <p:txBody>
          <a:bodyPr/>
          <a:lstStyle/>
          <a:p>
            <a:r>
              <a:t>4.1 Challenges in Communication</a:t>
            </a:r>
          </a:p>
        </p:txBody>
      </p:sp>
      <p:sp>
        <p:nvSpPr>
          <p:cNvPr id="4" name="Content Placeholder 3"/>
          <p:cNvSpPr>
            <a:spLocks noGrp="1"/>
          </p:cNvSpPr>
          <p:nvPr>
            <p:ph sz="quarter" idx="14"/>
          </p:nvPr>
        </p:nvSpPr>
        <p:spPr/>
        <p:txBody>
          <a:bodyPr/>
          <a:lstStyle/>
          <a:p>
            <a:endParaRPr/>
          </a:p>
          <a:p>
            <a:pPr lvl="1"/>
            <a:r>
              <a:t>Translating Technical Language</a:t>
            </a:r>
          </a:p>
          <a:p>
            <a:pPr lvl="2"/>
            <a:r>
              <a:t>Complex concepts must be simplified for diverse audiences to prevent misunderstanding.</a:t>
            </a:r>
          </a:p>
          <a:p>
            <a:pPr lvl="2"/>
            <a:r>
              <a:t>Continuously evolving technology requires regular updates in communication strategies.</a:t>
            </a:r>
          </a:p>
        </p:txBody>
      </p:sp>
      <p:sp>
        <p:nvSpPr>
          <p:cNvPr id="5" name="Content Placeholder 4"/>
          <p:cNvSpPr>
            <a:spLocks noGrp="1"/>
          </p:cNvSpPr>
          <p:nvPr>
            <p:ph sz="quarter" idx="21"/>
          </p:nvPr>
        </p:nvSpPr>
        <p:spPr/>
        <p:txBody>
          <a:bodyPr/>
          <a:lstStyle/>
          <a:p>
            <a:endParaRPr/>
          </a:p>
          <a:p>
            <a:pPr lvl="1"/>
            <a:r>
              <a:t>Lack of Standardization</a:t>
            </a:r>
          </a:p>
          <a:p>
            <a:pPr lvl="2"/>
            <a:r>
              <a:t>Proprietary systems create fragmentation and hinder interoperability across industries.</a:t>
            </a:r>
          </a:p>
          <a:p>
            <a:pPr lvl="2"/>
            <a:r>
              <a:t>Standardized practices are crucial for cohesive communication within and between organizations.</a:t>
            </a:r>
          </a:p>
        </p:txBody>
      </p:sp>
      <p:sp>
        <p:nvSpPr>
          <p:cNvPr id="6" name="Content Placeholder 5"/>
          <p:cNvSpPr>
            <a:spLocks noGrp="1"/>
          </p:cNvSpPr>
          <p:nvPr>
            <p:ph sz="quarter" idx="22"/>
          </p:nvPr>
        </p:nvSpPr>
        <p:spPr/>
        <p:txBody>
          <a:bodyPr/>
          <a:lstStyle/>
          <a:p>
            <a:endParaRPr/>
          </a:p>
          <a:p>
            <a:pPr lvl="1"/>
            <a:r>
              <a:t>Solutions to Communication Gaps</a:t>
            </a:r>
          </a:p>
          <a:p>
            <a:pPr lvl="2"/>
            <a:r>
              <a:t>Developing educational frameworks helps stakeholders grasp complex subjects.</a:t>
            </a:r>
          </a:p>
          <a:p>
            <a:pPr lvl="2"/>
            <a:r>
              <a:t>Visual aids and examples enhance understanding, making communication more effective.</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t>Effective techniques to bridge communication gaps</a:t>
            </a:r>
          </a:p>
        </p:txBody>
      </p:sp>
      <p:sp>
        <p:nvSpPr>
          <p:cNvPr id="3" name="Title 2"/>
          <p:cNvSpPr>
            <a:spLocks noGrp="1"/>
          </p:cNvSpPr>
          <p:nvPr>
            <p:ph type="title"/>
          </p:nvPr>
        </p:nvSpPr>
        <p:spPr/>
        <p:txBody>
          <a:bodyPr/>
          <a:lstStyle/>
          <a:p>
            <a:r>
              <a:t>4.2 Strategies for Effective Communication</a:t>
            </a:r>
          </a:p>
        </p:txBody>
      </p:sp>
      <p:sp>
        <p:nvSpPr>
          <p:cNvPr id="4" name="Content Placeholder 3"/>
          <p:cNvSpPr>
            <a:spLocks noGrp="1"/>
          </p:cNvSpPr>
          <p:nvPr>
            <p:ph sz="quarter" idx="14"/>
          </p:nvPr>
        </p:nvSpPr>
        <p:spPr/>
        <p:txBody>
          <a:bodyPr/>
          <a:lstStyle/>
          <a:p>
            <a:endParaRPr/>
          </a:p>
          <a:p>
            <a:pPr lvl="1"/>
            <a:r>
              <a:t>Audience-Centric Messaging</a:t>
            </a:r>
          </a:p>
          <a:p>
            <a:pPr lvl="2"/>
            <a:r>
              <a:t>Tailor communication to match the audience's knowledge level.</a:t>
            </a:r>
          </a:p>
          <a:p>
            <a:pPr lvl="2"/>
            <a:r>
              <a:t>Present information clearly, avoiding unnecessary simplification.</a:t>
            </a:r>
          </a:p>
          <a:p>
            <a:pPr lvl="2"/>
            <a:r>
              <a:t>Ensure messages resonate by aligning with audience needs.</a:t>
            </a:r>
          </a:p>
        </p:txBody>
      </p:sp>
      <p:sp>
        <p:nvSpPr>
          <p:cNvPr id="5" name="Content Placeholder 4"/>
          <p:cNvSpPr>
            <a:spLocks noGrp="1"/>
          </p:cNvSpPr>
          <p:nvPr>
            <p:ph sz="quarter" idx="21"/>
          </p:nvPr>
        </p:nvSpPr>
        <p:spPr/>
        <p:txBody>
          <a:bodyPr/>
          <a:lstStyle/>
          <a:p>
            <a:endParaRPr/>
          </a:p>
          <a:p>
            <a:pPr lvl="1"/>
            <a:r>
              <a:t>Storytelling Techniques</a:t>
            </a:r>
          </a:p>
          <a:p>
            <a:pPr lvl="2"/>
            <a:r>
              <a:t>Use stories to provide relatable and memorable context.</a:t>
            </a:r>
          </a:p>
          <a:p>
            <a:pPr lvl="2"/>
            <a:r>
              <a:t>Employ analogies to simplify complex concepts.</a:t>
            </a:r>
          </a:p>
          <a:p>
            <a:pPr lvl="2"/>
            <a:r>
              <a:t>Capture attention by illustrating ideas through narrative.</a:t>
            </a:r>
          </a:p>
        </p:txBody>
      </p:sp>
      <p:sp>
        <p:nvSpPr>
          <p:cNvPr id="6" name="Content Placeholder 5"/>
          <p:cNvSpPr>
            <a:spLocks noGrp="1"/>
          </p:cNvSpPr>
          <p:nvPr>
            <p:ph sz="quarter" idx="22"/>
          </p:nvPr>
        </p:nvSpPr>
        <p:spPr/>
        <p:txBody>
          <a:bodyPr/>
          <a:lstStyle/>
          <a:p>
            <a:endParaRPr/>
          </a:p>
          <a:p>
            <a:pPr lvl="1"/>
            <a:r>
              <a:t>Visual Aids Utilization</a:t>
            </a:r>
          </a:p>
          <a:p>
            <a:pPr lvl="2"/>
            <a:r>
              <a:t>Leverage infographics and diagrams to simplify data.</a:t>
            </a:r>
          </a:p>
          <a:p>
            <a:pPr lvl="2"/>
            <a:r>
              <a:t>Visuals offer concrete representations of abstract ideas.</a:t>
            </a:r>
          </a:p>
          <a:p>
            <a:pPr lvl="2"/>
            <a:r>
              <a:t>Enhance comprehension by summarizing information visually.</a:t>
            </a:r>
          </a:p>
        </p:txBody>
      </p:sp>
      <p:sp>
        <p:nvSpPr>
          <p:cNvPr id="7" name="Content Placeholder 6"/>
          <p:cNvSpPr>
            <a:spLocks noGrp="1"/>
          </p:cNvSpPr>
          <p:nvPr>
            <p:ph sz="quarter" idx="23"/>
          </p:nvPr>
        </p:nvSpPr>
        <p:spPr/>
        <p:txBody>
          <a:bodyPr/>
          <a:lstStyle/>
          <a:p>
            <a:endParaRPr/>
          </a:p>
          <a:p>
            <a:pPr lvl="1"/>
            <a:r>
              <a:t>Feedback and Technology Integration</a:t>
            </a:r>
          </a:p>
          <a:p>
            <a:pPr lvl="2"/>
            <a:r>
              <a:t>Establish feedback systems to refine communication strategies.</a:t>
            </a:r>
          </a:p>
          <a:p>
            <a:pPr lvl="2"/>
            <a:r>
              <a:t>Utilize virtual platforms for broader reach and engagement.</a:t>
            </a:r>
          </a:p>
          <a:p>
            <a:pPr lvl="2"/>
            <a:r>
              <a:t>Ensure technology fosters interactive and two-way communication.</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22"/>
          </p:nvPr>
        </p:nvSpPr>
        <p:spPr/>
        <p:txBody>
          <a:bodyPr/>
          <a:lstStyle/>
          <a:p>
            <a:r>
              <a:t>Visual aids and storytelling enhance understanding and retention of concepts.</a:t>
            </a:r>
          </a:p>
        </p:txBody>
      </p:sp>
      <p:sp>
        <p:nvSpPr>
          <p:cNvPr id="3" name="Text Placeholder 2"/>
          <p:cNvSpPr>
            <a:spLocks noGrp="1"/>
          </p:cNvSpPr>
          <p:nvPr>
            <p:ph type="body" sz="quarter" idx="13"/>
          </p:nvPr>
        </p:nvSpPr>
        <p:spPr/>
        <p:txBody>
          <a:bodyPr/>
          <a:lstStyle/>
          <a:p>
            <a:r>
              <a:t>Effective communication bridges gaps between technical experts and non-experts.</a:t>
            </a:r>
          </a:p>
        </p:txBody>
      </p:sp>
      <p:sp>
        <p:nvSpPr>
          <p:cNvPr id="4" name="Title 3"/>
          <p:cNvSpPr>
            <a:spLocks noGrp="1"/>
          </p:cNvSpPr>
          <p:nvPr>
            <p:ph type="title"/>
          </p:nvPr>
        </p:nvSpPr>
        <p:spPr/>
        <p:txBody>
          <a:bodyPr/>
          <a:lstStyle/>
          <a:p>
            <a:r>
              <a:t>4.3 Impact of Communication Strategies</a:t>
            </a:r>
          </a:p>
        </p:txBody>
      </p:sp>
      <p:sp>
        <p:nvSpPr>
          <p:cNvPr id="5" name="Text Placeholder 4"/>
          <p:cNvSpPr>
            <a:spLocks noGrp="1"/>
          </p:cNvSpPr>
          <p:nvPr>
            <p:ph type="body" sz="quarter" idx="21"/>
          </p:nvPr>
        </p:nvSpPr>
        <p:spPr/>
        <p:txBody>
          <a:bodyPr/>
          <a:lstStyle/>
          <a:p>
            <a:r>
              <a:t>Tailoring messages fosters inclusivity and enhances decision-making processes.</a:t>
            </a:r>
          </a:p>
        </p:txBody>
      </p:sp>
      <p:sp>
        <p:nvSpPr>
          <p:cNvPr id="6" name="Text Placeholder 5"/>
          <p:cNvSpPr>
            <a:spLocks noGrp="1"/>
          </p:cNvSpPr>
          <p:nvPr>
            <p:ph type="body" sz="quarter" idx="23"/>
          </p:nvPr>
        </p:nvSpPr>
        <p:spPr/>
        <p:txBody>
          <a:bodyPr/>
          <a:lstStyle/>
          <a:p>
            <a:r>
              <a:t>Integrating interactive elements boosts engagement in digital communication.</a:t>
            </a:r>
          </a:p>
        </p:txBody>
      </p:sp>
      <p:sp>
        <p:nvSpPr>
          <p:cNvPr id="7" name="Text Placeholder 6"/>
          <p:cNvSpPr>
            <a:spLocks noGrp="1"/>
          </p:cNvSpPr>
          <p:nvPr>
            <p:ph type="body" sz="quarter" idx="25"/>
          </p:nvPr>
        </p:nvSpPr>
        <p:spPr/>
        <p:txBody>
          <a:bodyPr/>
          <a:lstStyle/>
          <a:p>
            <a:r>
              <a:t>Clear communication aligns team goals with organizational objectives.</a:t>
            </a:r>
          </a:p>
        </p:txBody>
      </p:sp>
      <p:sp>
        <p:nvSpPr>
          <p:cNvPr id="8" name="Text Placeholder 7"/>
          <p:cNvSpPr>
            <a:spLocks noGrp="1"/>
          </p:cNvSpPr>
          <p:nvPr>
            <p:ph type="body" sz="quarter" idx="26"/>
          </p:nvPr>
        </p:nvSpPr>
        <p:spPr/>
        <p:txBody>
          <a:bodyPr/>
          <a:lstStyle/>
          <a:p>
            <a:r>
              <a:t>Strong strategies ensure competitive advantage and organizational adaptability.</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5. Appendices and Data Sources</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t>Explore key reports enhancing tech insights</a:t>
            </a:r>
          </a:p>
        </p:txBody>
      </p:sp>
      <p:sp>
        <p:nvSpPr>
          <p:cNvPr id="3" name="Title 2"/>
          <p:cNvSpPr>
            <a:spLocks noGrp="1"/>
          </p:cNvSpPr>
          <p:nvPr>
            <p:ph type="title"/>
          </p:nvPr>
        </p:nvSpPr>
        <p:spPr/>
        <p:txBody>
          <a:bodyPr/>
          <a:lstStyle/>
          <a:p>
            <a:r>
              <a:t>5.1 Additional Resources</a:t>
            </a:r>
          </a:p>
        </p:txBody>
      </p:sp>
      <p:sp>
        <p:nvSpPr>
          <p:cNvPr id="4" name="Content Placeholder 3"/>
          <p:cNvSpPr>
            <a:spLocks noGrp="1"/>
          </p:cNvSpPr>
          <p:nvPr>
            <p:ph sz="quarter" idx="29"/>
          </p:nvPr>
        </p:nvSpPr>
        <p:spPr/>
        <p:txBody>
          <a:bodyPr/>
          <a:lstStyle/>
          <a:p>
            <a:endParaRPr/>
          </a:p>
          <a:p>
            <a:pPr lvl="1"/>
            <a:r>
              <a:t>Technology Trends Analysis</a:t>
            </a:r>
          </a:p>
          <a:p>
            <a:pPr lvl="2"/>
            <a:r>
              <a:t>The 'Tech Trends 2025' report in Deloitte's Database outlines major technological shifts expected.</a:t>
            </a:r>
          </a:p>
          <a:p>
            <a:pPr lvl="2"/>
            <a:r>
              <a:t>'AI Warehouse Space Utilization Analysis' explores AI-driven efficiency in warehouse operations.</a:t>
            </a:r>
          </a:p>
        </p:txBody>
      </p:sp>
      <p:sp>
        <p:nvSpPr>
          <p:cNvPr id="5" name="Content Placeholder 4"/>
          <p:cNvSpPr>
            <a:spLocks noGrp="1"/>
          </p:cNvSpPr>
          <p:nvPr>
            <p:ph sz="quarter" idx="30"/>
          </p:nvPr>
        </p:nvSpPr>
        <p:spPr/>
        <p:txBody>
          <a:bodyPr/>
          <a:lstStyle/>
          <a:p>
            <a:endParaRPr/>
          </a:p>
          <a:p>
            <a:pPr lvl="1"/>
            <a:r>
              <a:t>Industry Investment Insights</a:t>
            </a:r>
          </a:p>
          <a:p>
            <a:pPr lvl="2"/>
            <a:r>
              <a:t>'Unlocking Industry Advantage through Tech Investment' highlights competitiveness via tech investments.</a:t>
            </a:r>
          </a:p>
          <a:p>
            <a:pPr lvl="2"/>
            <a:r>
              <a:t>'Future of Freight: Transforming the Movement of Goods' examines tech's role in logistics innovation.</a:t>
            </a:r>
          </a:p>
        </p:txBody>
      </p:sp>
      <p:sp>
        <p:nvSpPr>
          <p:cNvPr id="6" name="Content Placeholder 5"/>
          <p:cNvSpPr>
            <a:spLocks noGrp="1"/>
          </p:cNvSpPr>
          <p:nvPr>
            <p:ph sz="quarter" idx="31"/>
          </p:nvPr>
        </p:nvSpPr>
        <p:spPr/>
        <p:txBody>
          <a:bodyPr/>
          <a:lstStyle/>
          <a:p>
            <a:endParaRPr/>
          </a:p>
          <a:p>
            <a:pPr lvl="1"/>
            <a:r>
              <a:t>Sector-Specific Reports</a:t>
            </a:r>
          </a:p>
          <a:p>
            <a:pPr lvl="2"/>
            <a:r>
              <a:t>'23 Construction in the US Industry Report' from IBIS World analyzes trends and forecasts in construction.</a:t>
            </a:r>
          </a:p>
          <a:p>
            <a:pPr lvl="2"/>
            <a:r>
              <a:t>'Smart Ports: Optimizing Operations with AI' discusses AI's impact on port performance and efficiency.</a:t>
            </a:r>
          </a:p>
        </p:txBody>
      </p:sp>
      <p:sp>
        <p:nvSpPr>
          <p:cNvPr id="7" name="Content Placeholder 6"/>
          <p:cNvSpPr>
            <a:spLocks noGrp="1"/>
          </p:cNvSpPr>
          <p:nvPr>
            <p:ph sz="quarter" idx="32"/>
          </p:nvPr>
        </p:nvSpPr>
        <p:spPr/>
        <p:txBody>
          <a:bodyPr/>
          <a:lstStyle/>
          <a:p>
            <a:endParaRPr/>
          </a:p>
          <a:p>
            <a:pPr lvl="1"/>
            <a:r>
              <a:t>Simulation and AI Studies</a:t>
            </a:r>
          </a:p>
          <a:p>
            <a:pPr lvl="2"/>
            <a:r>
              <a:t>'Application of Simulation in Warehouse Management' offers insights on operational efficiency via literature review.</a:t>
            </a:r>
          </a:p>
          <a:p>
            <a:pPr lvl="2"/>
            <a:r>
              <a:t>Further AI integration studies enhance understanding across diverse technology applications.</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Table Of Contents</a:t>
            </a:r>
          </a:p>
        </p:txBody>
      </p:sp>
      <p:sp>
        <p:nvSpPr>
          <p:cNvPr id="3" name="Content Placeholder 2"/>
          <p:cNvSpPr>
            <a:spLocks noGrp="1"/>
          </p:cNvSpPr>
          <p:nvPr>
            <p:ph sz="quarter" idx="23"/>
          </p:nvPr>
        </p:nvSpPr>
        <p:spPr/>
        <p:txBody>
          <a:bodyPr/>
          <a:lstStyle/>
          <a:p>
            <a:endParaRPr/>
          </a:p>
          <a:p>
            <a:pPr lvl="1"/>
            <a:r>
              <a:t>1. Executive Summary</a:t>
            </a:r>
          </a:p>
          <a:p>
            <a:pPr lvl="1"/>
            <a:r>
              <a:t>2. Tech Trends 2025</a:t>
            </a:r>
          </a:p>
          <a:p>
            <a:pPr lvl="1"/>
            <a:r>
              <a:t>3. Industry Outlooks</a:t>
            </a:r>
          </a:p>
          <a:p>
            <a:pPr lvl="1"/>
            <a:r>
              <a:t>4. Bridging Communication Gaps</a:t>
            </a:r>
          </a:p>
          <a:p>
            <a:pPr lvl="1"/>
            <a:r>
              <a:t>5. Appendices and Data Sources</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t>Key References for Emerging Tech Trends and Insights</a:t>
            </a:r>
          </a:p>
        </p:txBody>
      </p:sp>
      <p:sp>
        <p:nvSpPr>
          <p:cNvPr id="3" name="Title 2"/>
          <p:cNvSpPr>
            <a:spLocks noGrp="1"/>
          </p:cNvSpPr>
          <p:nvPr>
            <p:ph type="title"/>
          </p:nvPr>
        </p:nvSpPr>
        <p:spPr/>
        <p:txBody>
          <a:bodyPr/>
          <a:lstStyle/>
          <a:p>
            <a:r>
              <a:t>5.2 References</a:t>
            </a:r>
          </a:p>
        </p:txBody>
      </p:sp>
      <p:sp>
        <p:nvSpPr>
          <p:cNvPr id="4" name="Content Placeholder 3"/>
          <p:cNvSpPr>
            <a:spLocks noGrp="1"/>
          </p:cNvSpPr>
          <p:nvPr>
            <p:ph sz="quarter" idx="14"/>
          </p:nvPr>
        </p:nvSpPr>
        <p:spPr/>
        <p:txBody>
          <a:bodyPr/>
          <a:lstStyle/>
          <a:p>
            <a:endParaRPr/>
          </a:p>
          <a:p>
            <a:pPr lvl="1"/>
            <a:r>
              <a:t>Foundational Reports</a:t>
            </a:r>
          </a:p>
          <a:p>
            <a:pPr lvl="2"/>
            <a:r>
              <a:t>The 'Full PDF report - Tech Trends 2025' analyzes emerging industry trends.</a:t>
            </a:r>
          </a:p>
          <a:p>
            <a:pPr lvl="2"/>
            <a:r>
              <a:t>'AI Warehouse Space Utilization Analysis 2025' explores AI's role in warehouses.</a:t>
            </a:r>
          </a:p>
          <a:p>
            <a:pPr lvl="2"/>
            <a:r>
              <a:t>'Warehouse Operations Trends 2025' details automation and labor impacts in logistics.</a:t>
            </a:r>
          </a:p>
        </p:txBody>
      </p:sp>
      <p:sp>
        <p:nvSpPr>
          <p:cNvPr id="5" name="Content Placeholder 4"/>
          <p:cNvSpPr>
            <a:spLocks noGrp="1"/>
          </p:cNvSpPr>
          <p:nvPr>
            <p:ph sz="quarter" idx="21"/>
          </p:nvPr>
        </p:nvSpPr>
        <p:spPr/>
        <p:txBody>
          <a:bodyPr/>
          <a:lstStyle/>
          <a:p>
            <a:endParaRPr/>
          </a:p>
          <a:p>
            <a:pPr lvl="1"/>
            <a:r>
              <a:t>Sector-Specific Insights</a:t>
            </a:r>
          </a:p>
          <a:p>
            <a:pPr lvl="2"/>
            <a:r>
              <a:t>The '23 Construction in the US Industry Report' examines industry shifts.</a:t>
            </a:r>
          </a:p>
          <a:p>
            <a:pPr lvl="2"/>
            <a:r>
              <a:t>'48111B Domestic Airlines in the US Industry Report' highlights economic influences.</a:t>
            </a:r>
          </a:p>
          <a:p>
            <a:pPr lvl="2"/>
            <a:r>
              <a:t>'Unlocking Industry Advantage Through Tech Investment' outlines tech-driven advantages.</a:t>
            </a:r>
          </a:p>
        </p:txBody>
      </p:sp>
      <p:sp>
        <p:nvSpPr>
          <p:cNvPr id="6" name="Content Placeholder 5"/>
          <p:cNvSpPr>
            <a:spLocks noGrp="1"/>
          </p:cNvSpPr>
          <p:nvPr>
            <p:ph sz="quarter" idx="22"/>
          </p:nvPr>
        </p:nvSpPr>
        <p:spPr/>
        <p:txBody>
          <a:bodyPr/>
          <a:lstStyle/>
          <a:p>
            <a:endParaRPr/>
          </a:p>
          <a:p>
            <a:pPr lvl="1"/>
            <a:r>
              <a:t>Technological Shifts</a:t>
            </a:r>
          </a:p>
          <a:p>
            <a:pPr lvl="2"/>
            <a:r>
              <a:t>AI integration and digital transformation are driving operational changes.</a:t>
            </a:r>
          </a:p>
          <a:p>
            <a:pPr lvl="2"/>
            <a:r>
              <a:t>Automation is reshaping labor dynamics in various sectors.</a:t>
            </a:r>
          </a:p>
          <a:p>
            <a:pPr lvl="2"/>
            <a:r>
              <a:t>Industry-specific reports provide insights into tech-driven transformations.</a:t>
            </a:r>
          </a:p>
        </p:txBody>
      </p:sp>
      <p:sp>
        <p:nvSpPr>
          <p:cNvPr id="7" name="Content Placeholder 6"/>
          <p:cNvSpPr>
            <a:spLocks noGrp="1"/>
          </p:cNvSpPr>
          <p:nvPr>
            <p:ph sz="quarter" idx="23"/>
          </p:nvPr>
        </p:nvSpPr>
        <p:spPr/>
        <p:txBody>
          <a:bodyPr/>
          <a:lstStyle/>
          <a:p>
            <a:endParaRPr/>
          </a:p>
          <a:p>
            <a:pPr lvl="1"/>
            <a:r>
              <a:t>Comprehensive Understanding</a:t>
            </a:r>
          </a:p>
          <a:p>
            <a:pPr lvl="2"/>
            <a:r>
              <a:t>These references offer a broad view of technological advancements.</a:t>
            </a:r>
          </a:p>
          <a:p>
            <a:pPr lvl="2"/>
            <a:r>
              <a:t>Researchers gain insights into the impacts across different sectors.</a:t>
            </a:r>
          </a:p>
          <a:p>
            <a:pPr lvl="2"/>
            <a:r>
              <a:t>Stakeholders can leverage these insights for strategic planning.</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1. Executive Summary</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t>Exploring the Future of AI and Automation</a:t>
            </a:r>
          </a:p>
        </p:txBody>
      </p:sp>
      <p:sp>
        <p:nvSpPr>
          <p:cNvPr id="3" name="Title 2"/>
          <p:cNvSpPr>
            <a:spLocks noGrp="1"/>
          </p:cNvSpPr>
          <p:nvPr>
            <p:ph type="title"/>
          </p:nvPr>
        </p:nvSpPr>
        <p:spPr/>
        <p:txBody>
          <a:bodyPr/>
          <a:lstStyle/>
          <a:p>
            <a:r>
              <a:t>1.1 Tech Trends 2025 Overview</a:t>
            </a:r>
          </a:p>
        </p:txBody>
      </p:sp>
      <p:sp>
        <p:nvSpPr>
          <p:cNvPr id="4" name="Content Placeholder 3"/>
          <p:cNvSpPr>
            <a:spLocks noGrp="1"/>
          </p:cNvSpPr>
          <p:nvPr>
            <p:ph sz="quarter" idx="23"/>
          </p:nvPr>
        </p:nvSpPr>
        <p:spPr/>
        <p:txBody>
          <a:bodyPr/>
          <a:lstStyle/>
          <a:p>
            <a:endParaRPr/>
          </a:p>
          <a:p>
            <a:pPr lvl="1"/>
            <a:r>
              <a:t>AI in Warehousing</a:t>
            </a:r>
          </a:p>
          <a:p>
            <a:pPr lvl="2"/>
            <a:r>
              <a:t>AI-driven technologies are transforming space utilization and real-time tracking.</a:t>
            </a:r>
          </a:p>
          <a:p>
            <a:pPr lvl="2"/>
            <a:r>
              <a:t>Innovations in AI enable precise demand forecasting for e-commerce growth.</a:t>
            </a:r>
          </a:p>
          <a:p>
            <a:pPr lvl="2"/>
            <a:r>
              <a:t>Enhanced analytics improve warehouse management decision-making.</a:t>
            </a:r>
          </a:p>
        </p:txBody>
      </p:sp>
      <p:sp>
        <p:nvSpPr>
          <p:cNvPr id="5" name="Content Placeholder 4"/>
          <p:cNvSpPr>
            <a:spLocks noGrp="1"/>
          </p:cNvSpPr>
          <p:nvPr>
            <p:ph sz="quarter" idx="24"/>
          </p:nvPr>
        </p:nvSpPr>
        <p:spPr/>
        <p:txBody>
          <a:bodyPr/>
          <a:lstStyle/>
          <a:p>
            <a:endParaRPr/>
          </a:p>
          <a:p>
            <a:pPr lvl="1"/>
            <a:r>
              <a:t>Logistics Optimization</a:t>
            </a:r>
          </a:p>
          <a:p>
            <a:pPr lvl="2"/>
            <a:r>
              <a:t>AI reduces manual interventions, boosting logistics efficiency.</a:t>
            </a:r>
          </a:p>
          <a:p>
            <a:pPr lvl="2"/>
            <a:r>
              <a:t>Automation enhances network agility and operational cost management.</a:t>
            </a:r>
          </a:p>
          <a:p>
            <a:pPr lvl="2"/>
            <a:r>
              <a:t>AI systems elevate customer satisfaction via optimized freight operations.</a:t>
            </a:r>
          </a:p>
        </p:txBody>
      </p:sp>
      <p:sp>
        <p:nvSpPr>
          <p:cNvPr id="6" name="Content Placeholder 5"/>
          <p:cNvSpPr>
            <a:spLocks noGrp="1"/>
          </p:cNvSpPr>
          <p:nvPr>
            <p:ph sz="quarter" idx="25"/>
          </p:nvPr>
        </p:nvSpPr>
        <p:spPr/>
        <p:txBody>
          <a:bodyPr/>
          <a:lstStyle/>
          <a:p>
            <a:endParaRPr/>
          </a:p>
          <a:p>
            <a:pPr lvl="1"/>
            <a:r>
              <a:t>Strategic Implications</a:t>
            </a:r>
          </a:p>
          <a:p>
            <a:pPr lvl="2"/>
            <a:r>
              <a:t>AI and automation redefine business operations and competitiveness.</a:t>
            </a:r>
          </a:p>
          <a:p>
            <a:pPr lvl="2"/>
            <a:r>
              <a:t>Embracing these technologies is crucial for gaining competitive advantage.</a:t>
            </a:r>
          </a:p>
          <a:p>
            <a:pPr lvl="2"/>
            <a:r>
              <a:t>Insights set the stage for future technological advancements discussions.</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t>Effective communication bridges technical and strategic gaps.</a:t>
            </a:r>
          </a:p>
        </p:txBody>
      </p:sp>
      <p:sp>
        <p:nvSpPr>
          <p:cNvPr id="3" name="Title 2"/>
          <p:cNvSpPr>
            <a:spLocks noGrp="1"/>
          </p:cNvSpPr>
          <p:nvPr>
            <p:ph type="title"/>
          </p:nvPr>
        </p:nvSpPr>
        <p:spPr/>
        <p:txBody>
          <a:bodyPr/>
          <a:lstStyle/>
          <a:p>
            <a:r>
              <a:t>1.2 Communication Challenges Overview</a:t>
            </a:r>
          </a:p>
        </p:txBody>
      </p:sp>
      <p:sp>
        <p:nvSpPr>
          <p:cNvPr id="4" name="Content Placeholder 3"/>
          <p:cNvSpPr>
            <a:spLocks noGrp="1"/>
          </p:cNvSpPr>
          <p:nvPr>
            <p:ph sz="quarter" idx="14"/>
          </p:nvPr>
        </p:nvSpPr>
        <p:spPr/>
        <p:txBody>
          <a:bodyPr/>
          <a:lstStyle/>
          <a:p>
            <a:endParaRPr/>
          </a:p>
          <a:p>
            <a:pPr lvl="1"/>
            <a:r>
              <a:t>Internal Communication Gaps</a:t>
            </a:r>
          </a:p>
          <a:p>
            <a:pPr lvl="2"/>
            <a:r>
              <a:t>Translating technical jargon into actionable insights requires linguistic clarity and strategic alignment.</a:t>
            </a:r>
          </a:p>
          <a:p>
            <a:pPr lvl="2"/>
            <a:r>
              <a:t>Decision-making processes can be hindered by ineffective communication and misunderstanding complex concepts.</a:t>
            </a:r>
          </a:p>
          <a:p>
            <a:pPr lvl="2"/>
            <a:r>
              <a:t>Clear communication enhances collaboration, vital for seamless technological integration.</a:t>
            </a:r>
          </a:p>
        </p:txBody>
      </p:sp>
      <p:sp>
        <p:nvSpPr>
          <p:cNvPr id="5" name="Content Placeholder 4"/>
          <p:cNvSpPr>
            <a:spLocks noGrp="1"/>
          </p:cNvSpPr>
          <p:nvPr>
            <p:ph sz="quarter" idx="21"/>
          </p:nvPr>
        </p:nvSpPr>
        <p:spPr/>
        <p:txBody>
          <a:bodyPr/>
          <a:lstStyle/>
          <a:p>
            <a:endParaRPr/>
          </a:p>
          <a:p>
            <a:pPr lvl="1"/>
            <a:r>
              <a:t>External Communication Needs</a:t>
            </a:r>
          </a:p>
          <a:p>
            <a:pPr lvl="2"/>
            <a:r>
              <a:t>Maintaining transparency with partners and customers fosters trust in technological changes.</a:t>
            </a:r>
          </a:p>
          <a:p>
            <a:pPr lvl="2"/>
            <a:r>
              <a:t>Clear communication methods are essential for managing expectations during workflow alterations.</a:t>
            </a:r>
          </a:p>
          <a:p>
            <a:pPr lvl="2"/>
            <a:r>
              <a:t>Continuous dialogue enables a shared understanding between technical and non-technical audiences.</a:t>
            </a:r>
          </a:p>
        </p:txBody>
      </p:sp>
      <p:sp>
        <p:nvSpPr>
          <p:cNvPr id="6" name="Content Placeholder 5"/>
          <p:cNvSpPr>
            <a:spLocks noGrp="1"/>
          </p:cNvSpPr>
          <p:nvPr>
            <p:ph sz="quarter" idx="22"/>
          </p:nvPr>
        </p:nvSpPr>
        <p:spPr/>
        <p:txBody>
          <a:bodyPr/>
          <a:lstStyle/>
          <a:p>
            <a:endParaRPr/>
          </a:p>
          <a:p>
            <a:pPr lvl="1"/>
            <a:r>
              <a:t>Strategies for Overcoming Challenges</a:t>
            </a:r>
          </a:p>
          <a:p>
            <a:pPr lvl="2"/>
            <a:r>
              <a:t>Implement feedback loops to leverage technology benefits without resistance.</a:t>
            </a:r>
          </a:p>
          <a:p>
            <a:pPr lvl="2"/>
            <a:r>
              <a:t>Develop communication strategies that align with stakeholders' strategic goals and cultural nuances.</a:t>
            </a:r>
          </a:p>
          <a:p>
            <a:pPr lvl="2"/>
            <a:r>
              <a:t>Encourage continuous learning to bridge the gap between experts and diverse audiences.</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2. Tech Trends 2025</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t>Exploring the Impact of AI on Business</a:t>
            </a:r>
          </a:p>
        </p:txBody>
      </p:sp>
      <p:sp>
        <p:nvSpPr>
          <p:cNvPr id="3" name="Title 2"/>
          <p:cNvSpPr>
            <a:spLocks noGrp="1"/>
          </p:cNvSpPr>
          <p:nvPr>
            <p:ph type="title"/>
          </p:nvPr>
        </p:nvSpPr>
        <p:spPr/>
        <p:txBody>
          <a:bodyPr/>
          <a:lstStyle/>
          <a:p>
            <a:r>
              <a:t>2.1 Digital Transformation &amp; AI Influence</a:t>
            </a:r>
          </a:p>
        </p:txBody>
      </p:sp>
      <p:sp>
        <p:nvSpPr>
          <p:cNvPr id="4" name="Content Placeholder 3"/>
          <p:cNvSpPr>
            <a:spLocks noGrp="1"/>
          </p:cNvSpPr>
          <p:nvPr>
            <p:ph sz="quarter" idx="14"/>
          </p:nvPr>
        </p:nvSpPr>
        <p:spPr/>
        <p:txBody>
          <a:bodyPr/>
          <a:lstStyle/>
          <a:p>
            <a:endParaRPr/>
          </a:p>
          <a:p>
            <a:pPr lvl="1"/>
            <a:r>
              <a:t>Operational Efficiency</a:t>
            </a:r>
          </a:p>
          <a:p>
            <a:pPr lvl="2"/>
            <a:r>
              <a:t>AI-driven automation enhances business efficiency by handling routine tasks, freeing up human resources for strategic initiatives.</a:t>
            </a:r>
          </a:p>
          <a:p>
            <a:pPr lvl="2"/>
            <a:r>
              <a:t>AI in warehousing optimizes space and logistics, significantly improving supply chain efficiency.</a:t>
            </a:r>
          </a:p>
          <a:p>
            <a:pPr lvl="2"/>
            <a:r>
              <a:t>Predictive AI capabilities enable companies to forecast trends and prepare for future market demands.</a:t>
            </a:r>
          </a:p>
        </p:txBody>
      </p:sp>
      <p:sp>
        <p:nvSpPr>
          <p:cNvPr id="5" name="Content Placeholder 4"/>
          <p:cNvSpPr>
            <a:spLocks noGrp="1"/>
          </p:cNvSpPr>
          <p:nvPr>
            <p:ph sz="quarter" idx="21"/>
          </p:nvPr>
        </p:nvSpPr>
        <p:spPr/>
        <p:txBody>
          <a:bodyPr/>
          <a:lstStyle/>
          <a:p>
            <a:endParaRPr/>
          </a:p>
          <a:p>
            <a:pPr lvl="1"/>
            <a:r>
              <a:t>Enhanced Customer Experience</a:t>
            </a:r>
          </a:p>
          <a:p>
            <a:pPr lvl="2"/>
            <a:r>
              <a:t>AI personalizes customer interactions, offering services and products tailored to individual preferences.</a:t>
            </a:r>
          </a:p>
          <a:p>
            <a:pPr lvl="2"/>
            <a:r>
              <a:t>Integrated AI customer service platforms maintain high engagement and satisfaction, driving customer loyalty.</a:t>
            </a:r>
          </a:p>
          <a:p>
            <a:pPr lvl="2"/>
            <a:r>
              <a:t>Understanding AI benefits and challenges is key to achieving sustainable business transformation.</a:t>
            </a:r>
          </a:p>
        </p:txBody>
      </p:sp>
      <p:sp>
        <p:nvSpPr>
          <p:cNvPr id="6" name="Content Placeholder 5"/>
          <p:cNvSpPr>
            <a:spLocks noGrp="1"/>
          </p:cNvSpPr>
          <p:nvPr>
            <p:ph sz="quarter" idx="22"/>
          </p:nvPr>
        </p:nvSpPr>
        <p:spPr/>
        <p:txBody>
          <a:bodyPr/>
          <a:lstStyle/>
          <a:p>
            <a:endParaRPr/>
          </a:p>
          <a:p>
            <a:pPr lvl="1"/>
            <a:r>
              <a:t>Strategic Growth Opportunities</a:t>
            </a:r>
          </a:p>
          <a:p>
            <a:pPr lvl="2"/>
            <a:r>
              <a:t>AI reduces operational costs and opens opportunities for growth through innovative solutions.</a:t>
            </a:r>
          </a:p>
          <a:p>
            <a:pPr lvl="2"/>
            <a:r>
              <a:t>Data-driven insights improve decision-making, giving businesses a competitive advantage in various markets.</a:t>
            </a:r>
          </a:p>
          <a:p>
            <a:pPr lvl="2"/>
            <a:r>
              <a:t>Businesses that leverage AI can anticipate market changes and adapt strategies for better growth outcomes.</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t>Innovative Transformations in Modern Warehousing</a:t>
            </a:r>
          </a:p>
        </p:txBody>
      </p:sp>
      <p:sp>
        <p:nvSpPr>
          <p:cNvPr id="3" name="Title 2"/>
          <p:cNvSpPr>
            <a:spLocks noGrp="1"/>
          </p:cNvSpPr>
          <p:nvPr>
            <p:ph type="title"/>
          </p:nvPr>
        </p:nvSpPr>
        <p:spPr/>
        <p:txBody>
          <a:bodyPr/>
          <a:lstStyle/>
          <a:p>
            <a:r>
              <a:t>2.2 Warehouse Operations &amp; Automation</a:t>
            </a:r>
          </a:p>
        </p:txBody>
      </p:sp>
      <p:sp>
        <p:nvSpPr>
          <p:cNvPr id="4" name="Content Placeholder 3"/>
          <p:cNvSpPr>
            <a:spLocks noGrp="1"/>
          </p:cNvSpPr>
          <p:nvPr>
            <p:ph sz="quarter" idx="22"/>
          </p:nvPr>
        </p:nvSpPr>
        <p:spPr/>
        <p:txBody>
          <a:bodyPr/>
          <a:lstStyle/>
          <a:p>
            <a:endParaRPr/>
          </a:p>
          <a:p>
            <a:pPr lvl="1"/>
            <a:r>
              <a:t>Technological Advancements</a:t>
            </a:r>
          </a:p>
          <a:p>
            <a:pPr lvl="2"/>
            <a:r>
              <a:t>AI enhances space utilization by predicting inventory needs and optimizing layouts.</a:t>
            </a:r>
          </a:p>
          <a:p>
            <a:pPr lvl="2"/>
            <a:r>
              <a:t>Robotic systems increase accuracy and speed of order processing, reducing human errors.</a:t>
            </a:r>
          </a:p>
          <a:p>
            <a:pPr lvl="2"/>
            <a:r>
              <a:t>Advanced simulation tools facilitate efficient planning and operational forecasting.</a:t>
            </a:r>
          </a:p>
        </p:txBody>
      </p:sp>
      <p:sp>
        <p:nvSpPr>
          <p:cNvPr id="5" name="Content Placeholder 4"/>
          <p:cNvSpPr>
            <a:spLocks noGrp="1"/>
          </p:cNvSpPr>
          <p:nvPr>
            <p:ph sz="quarter" idx="23"/>
          </p:nvPr>
        </p:nvSpPr>
        <p:spPr/>
        <p:txBody>
          <a:bodyPr/>
          <a:lstStyle/>
          <a:p>
            <a:endParaRPr/>
          </a:p>
          <a:p>
            <a:pPr lvl="1"/>
            <a:r>
              <a:t>Impact on Efficiency and Labor</a:t>
            </a:r>
          </a:p>
          <a:p>
            <a:pPr lvl="2"/>
            <a:r>
              <a:t>Automation minimizes reliance on manual labor and addresses workforce challenges.</a:t>
            </a:r>
          </a:p>
          <a:p>
            <a:pPr lvl="2"/>
            <a:r>
              <a:t>AI and robotics integration boosts productivity, ensuring seamless task execution.</a:t>
            </a:r>
          </a:p>
          <a:p>
            <a:pPr lvl="2"/>
            <a:r>
              <a:t>The shift toward high-tech warehousing is key for maintaining a competitive edge.</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t>Using AI in Logistics for Increased Efficiency</a:t>
            </a:r>
          </a:p>
        </p:txBody>
      </p:sp>
      <p:sp>
        <p:nvSpPr>
          <p:cNvPr id="3" name="Title 2"/>
          <p:cNvSpPr>
            <a:spLocks noGrp="1"/>
          </p:cNvSpPr>
          <p:nvPr>
            <p:ph type="title"/>
          </p:nvPr>
        </p:nvSpPr>
        <p:spPr/>
        <p:txBody>
          <a:bodyPr/>
          <a:lstStyle/>
          <a:p>
            <a:r>
              <a:t>2.3 Logistics Transformation with AI</a:t>
            </a:r>
          </a:p>
        </p:txBody>
      </p:sp>
      <p:sp>
        <p:nvSpPr>
          <p:cNvPr id="4" name="Content Placeholder 3"/>
          <p:cNvSpPr>
            <a:spLocks noGrp="1"/>
          </p:cNvSpPr>
          <p:nvPr>
            <p:ph sz="quarter" idx="14"/>
          </p:nvPr>
        </p:nvSpPr>
        <p:spPr/>
        <p:txBody>
          <a:bodyPr/>
          <a:lstStyle/>
          <a:p>
            <a:endParaRPr/>
          </a:p>
          <a:p>
            <a:pPr lvl="1"/>
            <a:r>
              <a:t>Enhancing Supply Chain Operations</a:t>
            </a:r>
          </a:p>
          <a:p>
            <a:pPr lvl="2"/>
            <a:r>
              <a:t>AI optimizes supply chains through intelligent decision-making, improving operational efficiency and reducing costs.</a:t>
            </a:r>
          </a:p>
          <a:p>
            <a:pPr lvl="2"/>
            <a:r>
              <a:t>Predictive analytics allow logistics companies to anticipate demand and optimize delivery routes effectively.</a:t>
            </a:r>
          </a:p>
          <a:p>
            <a:pPr lvl="2"/>
            <a:r>
              <a:t>Automation of manual processes lessens human error and decreases reliance on labor.</a:t>
            </a:r>
          </a:p>
        </p:txBody>
      </p:sp>
      <p:sp>
        <p:nvSpPr>
          <p:cNvPr id="5" name="Content Placeholder 4"/>
          <p:cNvSpPr>
            <a:spLocks noGrp="1"/>
          </p:cNvSpPr>
          <p:nvPr>
            <p:ph sz="quarter" idx="21"/>
          </p:nvPr>
        </p:nvSpPr>
        <p:spPr/>
        <p:txBody>
          <a:bodyPr/>
          <a:lstStyle/>
          <a:p>
            <a:endParaRPr/>
          </a:p>
          <a:p>
            <a:pPr lvl="1"/>
            <a:r>
              <a:t>AI Applications in Logistics</a:t>
            </a:r>
          </a:p>
          <a:p>
            <a:pPr lvl="2"/>
            <a:r>
              <a:t>AI agents in warehouses improve inventory management and demand forecasting capabilities.</a:t>
            </a:r>
          </a:p>
          <a:p>
            <a:pPr lvl="2"/>
            <a:r>
              <a:t>Smart technologies transform ports and distribution centers into highly efficient smart ports.</a:t>
            </a:r>
          </a:p>
          <a:p>
            <a:pPr lvl="2"/>
            <a:r>
              <a:t>The use of AI-driven drones and guided vehicles introduces innovative delivery methods.</a:t>
            </a:r>
          </a:p>
        </p:txBody>
      </p:sp>
      <p:sp>
        <p:nvSpPr>
          <p:cNvPr id="6" name="Content Placeholder 5"/>
          <p:cNvSpPr>
            <a:spLocks noGrp="1"/>
          </p:cNvSpPr>
          <p:nvPr>
            <p:ph sz="quarter" idx="22"/>
          </p:nvPr>
        </p:nvSpPr>
        <p:spPr/>
        <p:txBody>
          <a:bodyPr/>
          <a:lstStyle/>
          <a:p>
            <a:endParaRPr/>
          </a:p>
          <a:p>
            <a:pPr lvl="1"/>
            <a:r>
              <a:t>Impact on the Logistics Sector</a:t>
            </a:r>
          </a:p>
          <a:p>
            <a:pPr lvl="2"/>
            <a:r>
              <a:t>AI adoption in logistics is highlighted by industry studies emphasizing new digital solutions.</a:t>
            </a:r>
          </a:p>
          <a:p>
            <a:pPr lvl="2"/>
            <a:r>
              <a:t>AI is central to the transition towards smart supply chain management in the logistics industry.</a:t>
            </a:r>
          </a:p>
          <a:p>
            <a:pPr lvl="2"/>
            <a:r>
              <a:t>Market reports suggest increasing integration of AI into traditional logistics settings.</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Green Yellow">
      <a:dk1>
        <a:sysClr val="windowText" lastClr="000000"/>
      </a:dk1>
      <a:lt1>
        <a:sysClr val="window" lastClr="FFFFFF"/>
      </a:lt1>
      <a:dk2>
        <a:srgbClr val="455F51"/>
      </a:dk2>
      <a:lt2>
        <a:srgbClr val="E2DFCC"/>
      </a:lt2>
      <a:accent1>
        <a:srgbClr val="99CB38"/>
      </a:accent1>
      <a:accent2>
        <a:srgbClr val="63A537"/>
      </a:accent2>
      <a:accent3>
        <a:srgbClr val="37A76F"/>
      </a:accent3>
      <a:accent4>
        <a:srgbClr val="44C1A3"/>
      </a:accent4>
      <a:accent5>
        <a:srgbClr val="4EB3CF"/>
      </a:accent5>
      <a:accent6>
        <a:srgbClr val="51C3F9"/>
      </a:accent6>
      <a:hlink>
        <a:srgbClr val="EE7B08"/>
      </a:hlink>
      <a:folHlink>
        <a:srgbClr val="977B2D"/>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Deloitte Brand Theme</Template>
  <TotalTime>0</TotalTime>
  <Words>1636</Words>
  <Application>Microsoft Macintosh PowerPoint</Application>
  <PresentationFormat>Widescreen</PresentationFormat>
  <Paragraphs>231</Paragraphs>
  <Slides>21</Slides>
  <Notes>0</Notes>
  <HiddenSlides>0</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7" baseType="lpstr">
      <vt:lpstr>Aptos</vt:lpstr>
      <vt:lpstr>Arial</vt:lpstr>
      <vt:lpstr>Calibri</vt:lpstr>
      <vt:lpstr>Calibri Light</vt:lpstr>
      <vt:lpstr>Frutiger Next Pro Light</vt:lpstr>
      <vt:lpstr>Frutiger Next Pro Light Italic</vt:lpstr>
      <vt:lpstr>Frutiger Next Pro Medium</vt:lpstr>
      <vt:lpstr>Frutiger Next Pro Medium Italic</vt:lpstr>
      <vt:lpstr>Montserrat Light</vt:lpstr>
      <vt:lpstr>Open Sans</vt:lpstr>
      <vt:lpstr>Open Sans Light</vt:lpstr>
      <vt:lpstr>Verdana</vt:lpstr>
      <vt:lpstr>Wingdings 2</vt:lpstr>
      <vt:lpstr>ヒラギノ角ゴ ProN W3</vt:lpstr>
      <vt:lpstr>Deloitte Brand Theme</vt:lpstr>
      <vt:lpstr>think-cell Slide</vt:lpstr>
      <vt:lpstr>Executive Summary</vt:lpstr>
      <vt:lpstr>Table Of Contents</vt:lpstr>
      <vt:lpstr>1. Executive Summary</vt:lpstr>
      <vt:lpstr>1.1 Tech Trends 2025 Overview</vt:lpstr>
      <vt:lpstr>1.2 Communication Challenges Overview</vt:lpstr>
      <vt:lpstr>2. Tech Trends 2025</vt:lpstr>
      <vt:lpstr>2.1 Digital Transformation &amp; AI Influence</vt:lpstr>
      <vt:lpstr>2.2 Warehouse Operations &amp; Automation</vt:lpstr>
      <vt:lpstr>2.3 Logistics Transformation with AI</vt:lpstr>
      <vt:lpstr>3. Industry Outlooks</vt:lpstr>
      <vt:lpstr>3.1 Construction Industry</vt:lpstr>
      <vt:lpstr>3.2 Freight &amp; Movement of Goods</vt:lpstr>
      <vt:lpstr>3.3 Market Reports &amp; Industry Data</vt:lpstr>
      <vt:lpstr>4. Bridging Communication Gaps</vt:lpstr>
      <vt:lpstr>4.1 Challenges in Communication</vt:lpstr>
      <vt:lpstr>4.2 Strategies for Effective Communication</vt:lpstr>
      <vt:lpstr>4.3 Impact of Communication Strategies</vt:lpstr>
      <vt:lpstr>5. Appendices and Data Sources</vt:lpstr>
      <vt:lpstr>5.1 Additional Resources</vt:lpstr>
      <vt:lpstr>5.2 Referenc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cument heading in  Calibri Light green that can be up to three lines of text</dc:title>
  <dc:creator/>
  <cp:lastModifiedBy/>
  <cp:revision>2</cp:revision>
  <dcterms:created xsi:type="dcterms:W3CDTF">2020-04-09T19:43:18Z</dcterms:created>
  <dcterms:modified xsi:type="dcterms:W3CDTF">2025-09-12T13:13: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2-15T18:32:11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0cd076e2-ba1e-4444-8923-d23acd129111</vt:lpwstr>
  </property>
  <property fmtid="{D5CDD505-2E9C-101B-9397-08002B2CF9AE}" pid="8" name="MSIP_Label_ea60d57e-af5b-4752-ac57-3e4f28ca11dc_ContentBits">
    <vt:lpwstr>0</vt:lpwstr>
  </property>
</Properties>
</file>